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charts/chart7.xml" ContentType="application/vnd.openxmlformats-officedocument.drawingml.chart+xml"/>
  <Override PartName="/ppt/theme/themeOverride7.xml" ContentType="application/vnd.openxmlformats-officedocument.themeOverr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charts/chart8.xml" ContentType="application/vnd.openxmlformats-officedocument.drawingml.chart+xml"/>
  <Override PartName="/ppt/theme/themeOverride8.xml" ContentType="application/vnd.openxmlformats-officedocument.themeOverrid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charts/chart9.xml" ContentType="application/vnd.openxmlformats-officedocument.drawingml.chart+xml"/>
  <Override PartName="/ppt/theme/themeOverride9.xml" ContentType="application/vnd.openxmlformats-officedocument.themeOverrid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charts/chart10.xml" ContentType="application/vnd.openxmlformats-officedocument.drawingml.chart+xml"/>
  <Override PartName="/ppt/theme/themeOverride10.xml" ContentType="application/vnd.openxmlformats-officedocument.themeOverrid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charts/chart11.xml" ContentType="application/vnd.openxmlformats-officedocument.drawingml.chart+xml"/>
  <Override PartName="/ppt/theme/themeOverride11.xml" ContentType="application/vnd.openxmlformats-officedocument.themeOverrid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charts/chart12.xml" ContentType="application/vnd.openxmlformats-officedocument.drawingml.chart+xml"/>
  <Override PartName="/ppt/theme/themeOverride12.xml" ContentType="application/vnd.openxmlformats-officedocument.themeOverride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charts/chart13.xml" ContentType="application/vnd.openxmlformats-officedocument.drawingml.chart+xml"/>
  <Override PartName="/ppt/theme/themeOverride13.xml" ContentType="application/vnd.openxmlformats-officedocument.themeOverrid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charts/chart14.xml" ContentType="application/vnd.openxmlformats-officedocument.drawingml.chart+xml"/>
  <Override PartName="/ppt/theme/themeOverride14.xml" ContentType="application/vnd.openxmlformats-officedocument.themeOverride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charts/chart15.xml" ContentType="application/vnd.openxmlformats-officedocument.drawingml.chart+xml"/>
  <Override PartName="/ppt/theme/themeOverride15.xml" ContentType="application/vnd.openxmlformats-officedocument.themeOverride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charts/chart16.xml" ContentType="application/vnd.openxmlformats-officedocument.drawingml.chart+xml"/>
  <Override PartName="/ppt/theme/themeOverride16.xml" ContentType="application/vnd.openxmlformats-officedocument.themeOverride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charts/chart17.xml" ContentType="application/vnd.openxmlformats-officedocument.drawingml.chart+xml"/>
  <Override PartName="/ppt/theme/themeOverride17.xml" ContentType="application/vnd.openxmlformats-officedocument.themeOverride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charts/chart18.xml" ContentType="application/vnd.openxmlformats-officedocument.drawingml.chart+xml"/>
  <Override PartName="/ppt/theme/themeOverride18.xml" ContentType="application/vnd.openxmlformats-officedocument.themeOverride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charts/chart19.xml" ContentType="application/vnd.openxmlformats-officedocument.drawingml.chart+xml"/>
  <Override PartName="/ppt/theme/themeOverride19.xml" ContentType="application/vnd.openxmlformats-officedocument.themeOverride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charts/chart20.xml" ContentType="application/vnd.openxmlformats-officedocument.drawingml.chart+xml"/>
  <Override PartName="/ppt/theme/themeOverride20.xml" ContentType="application/vnd.openxmlformats-officedocument.themeOverride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charts/chart21.xml" ContentType="application/vnd.openxmlformats-officedocument.drawingml.chart+xml"/>
  <Override PartName="/ppt/theme/themeOverride21.xml" ContentType="application/vnd.openxmlformats-officedocument.themeOverride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charts/chart22.xml" ContentType="application/vnd.openxmlformats-officedocument.drawingml.chart+xml"/>
  <Override PartName="/ppt/theme/themeOverride22.xml" ContentType="application/vnd.openxmlformats-officedocument.themeOverride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charts/chart23.xml" ContentType="application/vnd.openxmlformats-officedocument.drawingml.chart+xml"/>
  <Override PartName="/ppt/theme/themeOverride23.xml" ContentType="application/vnd.openxmlformats-officedocument.themeOverride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charts/chart24.xml" ContentType="application/vnd.openxmlformats-officedocument.drawingml.chart+xml"/>
  <Override PartName="/ppt/theme/themeOverride24.xml" ContentType="application/vnd.openxmlformats-officedocument.themeOverride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charts/chart25.xml" ContentType="application/vnd.openxmlformats-officedocument.drawingml.chart+xml"/>
  <Override PartName="/ppt/theme/themeOverride25.xml" ContentType="application/vnd.openxmlformats-officedocument.themeOverride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charts/chart26.xml" ContentType="application/vnd.openxmlformats-officedocument.drawingml.chart+xml"/>
  <Override PartName="/ppt/theme/themeOverride26.xml" ContentType="application/vnd.openxmlformats-officedocument.themeOverride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charts/chart27.xml" ContentType="application/vnd.openxmlformats-officedocument.drawingml.chart+xml"/>
  <Override PartName="/ppt/theme/themeOverride27.xml" ContentType="application/vnd.openxmlformats-officedocument.themeOverride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charts/chart28.xml" ContentType="application/vnd.openxmlformats-officedocument.drawingml.chart+xml"/>
  <Override PartName="/ppt/theme/themeOverride28.xml" ContentType="application/vnd.openxmlformats-officedocument.themeOverride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charts/chart29.xml" ContentType="application/vnd.openxmlformats-officedocument.drawingml.chart+xml"/>
  <Override PartName="/ppt/theme/themeOverride29.xml" ContentType="application/vnd.openxmlformats-officedocument.themeOverride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charts/chart30.xml" ContentType="application/vnd.openxmlformats-officedocument.drawingml.chart+xml"/>
  <Override PartName="/ppt/theme/themeOverride30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</p:sldMasterIdLst>
  <p:notesMasterIdLst>
    <p:notesMasterId r:id="rId35"/>
  </p:notesMasterIdLst>
  <p:sldIdLst>
    <p:sldId id="4562" r:id="rId3"/>
    <p:sldId id="4563" r:id="rId4"/>
    <p:sldId id="4564" r:id="rId5"/>
    <p:sldId id="4565" r:id="rId6"/>
    <p:sldId id="4566" r:id="rId7"/>
    <p:sldId id="4567" r:id="rId8"/>
    <p:sldId id="4568" r:id="rId9"/>
    <p:sldId id="4569" r:id="rId10"/>
    <p:sldId id="4570" r:id="rId11"/>
    <p:sldId id="4571" r:id="rId12"/>
    <p:sldId id="4572" r:id="rId13"/>
    <p:sldId id="4573" r:id="rId14"/>
    <p:sldId id="4574" r:id="rId15"/>
    <p:sldId id="4575" r:id="rId16"/>
    <p:sldId id="4576" r:id="rId17"/>
    <p:sldId id="4577" r:id="rId18"/>
    <p:sldId id="4578" r:id="rId19"/>
    <p:sldId id="4579" r:id="rId20"/>
    <p:sldId id="4580" r:id="rId21"/>
    <p:sldId id="4581" r:id="rId22"/>
    <p:sldId id="4582" r:id="rId23"/>
    <p:sldId id="4583" r:id="rId24"/>
    <p:sldId id="4584" r:id="rId25"/>
    <p:sldId id="4585" r:id="rId26"/>
    <p:sldId id="4586" r:id="rId27"/>
    <p:sldId id="4587" r:id="rId28"/>
    <p:sldId id="4588" r:id="rId29"/>
    <p:sldId id="4589" r:id="rId30"/>
    <p:sldId id="4590" r:id="rId31"/>
    <p:sldId id="4591" r:id="rId32"/>
    <p:sldId id="4592" r:id="rId33"/>
    <p:sldId id="4593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EB4B03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04" d="100"/>
          <a:sy n="104" d="100"/>
        </p:scale>
        <p:origin x="126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9.xlsx"/><Relationship Id="rId1" Type="http://schemas.openxmlformats.org/officeDocument/2006/relationships/themeOverride" Target="../theme/themeOverride10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0.xlsx"/><Relationship Id="rId1" Type="http://schemas.openxmlformats.org/officeDocument/2006/relationships/themeOverride" Target="../theme/themeOverride11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1.xlsx"/><Relationship Id="rId1" Type="http://schemas.openxmlformats.org/officeDocument/2006/relationships/themeOverride" Target="../theme/themeOverride12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2.xlsx"/><Relationship Id="rId1" Type="http://schemas.openxmlformats.org/officeDocument/2006/relationships/themeOverride" Target="../theme/themeOverride13.xm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3.xlsx"/><Relationship Id="rId1" Type="http://schemas.openxmlformats.org/officeDocument/2006/relationships/themeOverride" Target="../theme/themeOverride14.xm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4.xlsx"/><Relationship Id="rId1" Type="http://schemas.openxmlformats.org/officeDocument/2006/relationships/themeOverride" Target="../theme/themeOverride15.xm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5.xlsx"/><Relationship Id="rId1" Type="http://schemas.openxmlformats.org/officeDocument/2006/relationships/themeOverride" Target="../theme/themeOverride16.xml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6.xlsx"/><Relationship Id="rId1" Type="http://schemas.openxmlformats.org/officeDocument/2006/relationships/themeOverride" Target="../theme/themeOverride17.xm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7.xlsx"/><Relationship Id="rId1" Type="http://schemas.openxmlformats.org/officeDocument/2006/relationships/themeOverride" Target="../theme/themeOverride18.xml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8.xlsx"/><Relationship Id="rId1" Type="http://schemas.openxmlformats.org/officeDocument/2006/relationships/themeOverride" Target="../theme/themeOverride19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9.xlsx"/><Relationship Id="rId1" Type="http://schemas.openxmlformats.org/officeDocument/2006/relationships/themeOverride" Target="../theme/themeOverride20.xml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0.xlsx"/><Relationship Id="rId1" Type="http://schemas.openxmlformats.org/officeDocument/2006/relationships/themeOverride" Target="../theme/themeOverride21.xml"/></Relationships>
</file>

<file path=ppt/charts/_rels/chart2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1.xlsx"/><Relationship Id="rId1" Type="http://schemas.openxmlformats.org/officeDocument/2006/relationships/themeOverride" Target="../theme/themeOverride22.xml"/></Relationships>
</file>

<file path=ppt/charts/_rels/chart2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2.xlsx"/><Relationship Id="rId1" Type="http://schemas.openxmlformats.org/officeDocument/2006/relationships/themeOverride" Target="../theme/themeOverride23.xml"/></Relationships>
</file>

<file path=ppt/charts/_rels/chart2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3.xlsx"/><Relationship Id="rId1" Type="http://schemas.openxmlformats.org/officeDocument/2006/relationships/themeOverride" Target="../theme/themeOverride24.xml"/></Relationships>
</file>

<file path=ppt/charts/_rels/chart2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4.xlsx"/><Relationship Id="rId1" Type="http://schemas.openxmlformats.org/officeDocument/2006/relationships/themeOverride" Target="../theme/themeOverride25.xml"/></Relationships>
</file>

<file path=ppt/charts/_rels/chart2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5.xlsx"/><Relationship Id="rId1" Type="http://schemas.openxmlformats.org/officeDocument/2006/relationships/themeOverride" Target="../theme/themeOverride26.xml"/></Relationships>
</file>

<file path=ppt/charts/_rels/chart2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6.xlsx"/><Relationship Id="rId1" Type="http://schemas.openxmlformats.org/officeDocument/2006/relationships/themeOverride" Target="../theme/themeOverride27.xml"/></Relationships>
</file>

<file path=ppt/charts/_rels/chart2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7.xlsx"/><Relationship Id="rId1" Type="http://schemas.openxmlformats.org/officeDocument/2006/relationships/themeOverride" Target="../theme/themeOverride28.xml"/></Relationships>
</file>

<file path=ppt/charts/_rels/chart2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8.xlsx"/><Relationship Id="rId1" Type="http://schemas.openxmlformats.org/officeDocument/2006/relationships/themeOverride" Target="../theme/themeOverride29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3.xml"/></Relationships>
</file>

<file path=ppt/charts/_rels/chart3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9.xlsx"/><Relationship Id="rId1" Type="http://schemas.openxmlformats.org/officeDocument/2006/relationships/themeOverride" Target="../theme/themeOverride30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7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8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.xlsx"/><Relationship Id="rId1" Type="http://schemas.openxmlformats.org/officeDocument/2006/relationships/themeOverride" Target="../theme/themeOverrid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45</c:v>
                </c:pt>
                <c:pt idx="1">
                  <c:v>44</c:v>
                </c:pt>
                <c:pt idx="2">
                  <c:v>52</c:v>
                </c:pt>
                <c:pt idx="3">
                  <c:v>58</c:v>
                </c:pt>
                <c:pt idx="4">
                  <c:v>72</c:v>
                </c:pt>
                <c:pt idx="5">
                  <c:v>86</c:v>
                </c:pt>
                <c:pt idx="6">
                  <c:v>75</c:v>
                </c:pt>
                <c:pt idx="7">
                  <c:v>78</c:v>
                </c:pt>
                <c:pt idx="8">
                  <c:v>77</c:v>
                </c:pt>
                <c:pt idx="9">
                  <c:v>77</c:v>
                </c:pt>
                <c:pt idx="10">
                  <c:v>99</c:v>
                </c:pt>
                <c:pt idx="11">
                  <c:v>113</c:v>
                </c:pt>
                <c:pt idx="12">
                  <c:v>114</c:v>
                </c:pt>
                <c:pt idx="13">
                  <c:v>116</c:v>
                </c:pt>
                <c:pt idx="14">
                  <c:v>115</c:v>
                </c:pt>
                <c:pt idx="15">
                  <c:v>112</c:v>
                </c:pt>
                <c:pt idx="16">
                  <c:v>116</c:v>
                </c:pt>
                <c:pt idx="17">
                  <c:v>133</c:v>
                </c:pt>
                <c:pt idx="18">
                  <c:v>146</c:v>
                </c:pt>
                <c:pt idx="19">
                  <c:v>138</c:v>
                </c:pt>
                <c:pt idx="20">
                  <c:v>142</c:v>
                </c:pt>
                <c:pt idx="21">
                  <c:v>152</c:v>
                </c:pt>
                <c:pt idx="22">
                  <c:v>150</c:v>
                </c:pt>
                <c:pt idx="23">
                  <c:v>162</c:v>
                </c:pt>
                <c:pt idx="24">
                  <c:v>170</c:v>
                </c:pt>
                <c:pt idx="25">
                  <c:v>192</c:v>
                </c:pt>
                <c:pt idx="26">
                  <c:v>215</c:v>
                </c:pt>
                <c:pt idx="27">
                  <c:v>209</c:v>
                </c:pt>
                <c:pt idx="28">
                  <c:v>236</c:v>
                </c:pt>
                <c:pt idx="29">
                  <c:v>238</c:v>
                </c:pt>
                <c:pt idx="30">
                  <c:v>267</c:v>
                </c:pt>
                <c:pt idx="31">
                  <c:v>311</c:v>
                </c:pt>
                <c:pt idx="32">
                  <c:v>317</c:v>
                </c:pt>
                <c:pt idx="33">
                  <c:v>345</c:v>
                </c:pt>
                <c:pt idx="34">
                  <c:v>345</c:v>
                </c:pt>
                <c:pt idx="35">
                  <c:v>384</c:v>
                </c:pt>
                <c:pt idx="36">
                  <c:v>389</c:v>
                </c:pt>
                <c:pt idx="37">
                  <c:v>424</c:v>
                </c:pt>
                <c:pt idx="38">
                  <c:v>470</c:v>
                </c:pt>
                <c:pt idx="39">
                  <c:v>485</c:v>
                </c:pt>
                <c:pt idx="40">
                  <c:v>509</c:v>
                </c:pt>
                <c:pt idx="41">
                  <c:v>517</c:v>
                </c:pt>
                <c:pt idx="42">
                  <c:v>526</c:v>
                </c:pt>
                <c:pt idx="43">
                  <c:v>553</c:v>
                </c:pt>
                <c:pt idx="44">
                  <c:v>593</c:v>
                </c:pt>
                <c:pt idx="45">
                  <c:v>634</c:v>
                </c:pt>
                <c:pt idx="46">
                  <c:v>6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538.34653645065316</c:v>
                </c:pt>
                <c:pt idx="43">
                  <c:v>566.3775340375945</c:v>
                </c:pt>
                <c:pt idx="44">
                  <c:v>593.53728122139341</c:v>
                </c:pt>
                <c:pt idx="45">
                  <c:v>619.29628634537175</c:v>
                </c:pt>
                <c:pt idx="46">
                  <c:v>644.79770503473469</c:v>
                </c:pt>
                <c:pt idx="47">
                  <c:v>670.44258291493816</c:v>
                </c:pt>
                <c:pt idx="48">
                  <c:v>695.53842156704866</c:v>
                </c:pt>
                <c:pt idx="49">
                  <c:v>719.85190196455505</c:v>
                </c:pt>
                <c:pt idx="50">
                  <c:v>742.00043602806977</c:v>
                </c:pt>
                <c:pt idx="51">
                  <c:v>763.64898141441938</c:v>
                </c:pt>
                <c:pt idx="52">
                  <c:v>784.57780034781422</c:v>
                </c:pt>
                <c:pt idx="53">
                  <c:v>805.25814425479871</c:v>
                </c:pt>
                <c:pt idx="54">
                  <c:v>824.18597696438064</c:v>
                </c:pt>
                <c:pt idx="55">
                  <c:v>842.13561239532044</c:v>
                </c:pt>
                <c:pt idx="56">
                  <c:v>859.80376950117602</c:v>
                </c:pt>
                <c:pt idx="57">
                  <c:v>876.3469461229945</c:v>
                </c:pt>
                <c:pt idx="58">
                  <c:v>891.94882551208582</c:v>
                </c:pt>
                <c:pt idx="59">
                  <c:v>906.52036102609327</c:v>
                </c:pt>
                <c:pt idx="60">
                  <c:v>920.58325715208446</c:v>
                </c:pt>
                <c:pt idx="61">
                  <c:v>933.55536588028576</c:v>
                </c:pt>
                <c:pt idx="62">
                  <c:v>945.42822341929059</c:v>
                </c:pt>
                <c:pt idx="63">
                  <c:v>956.48680799755061</c:v>
                </c:pt>
                <c:pt idx="64">
                  <c:v>966.91252893245849</c:v>
                </c:pt>
                <c:pt idx="65">
                  <c:v>976.23302503778325</c:v>
                </c:pt>
                <c:pt idx="66">
                  <c:v>984.51664838935426</c:v>
                </c:pt>
                <c:pt idx="67">
                  <c:v>991.93928923474482</c:v>
                </c:pt>
                <c:pt idx="68">
                  <c:v>998.55810901371012</c:v>
                </c:pt>
                <c:pt idx="69">
                  <c:v>1004.3210934838614</c:v>
                </c:pt>
                <c:pt idx="70">
                  <c:v>1009.1809084903009</c:v>
                </c:pt>
                <c:pt idx="71">
                  <c:v>1013.2878832646475</c:v>
                </c:pt>
                <c:pt idx="72">
                  <c:v>1016.4748329969786</c:v>
                </c:pt>
                <c:pt idx="73">
                  <c:v>1018.758024779135</c:v>
                </c:pt>
                <c:pt idx="74">
                  <c:v>1020.0411942973701</c:v>
                </c:pt>
                <c:pt idx="75">
                  <c:v>1020.4768913088463</c:v>
                </c:pt>
                <c:pt idx="76">
                  <c:v>1020.0732762357501</c:v>
                </c:pt>
                <c:pt idx="77">
                  <c:v>1018.8275369639042</c:v>
                </c:pt>
                <c:pt idx="78">
                  <c:v>1016.7053489876225</c:v>
                </c:pt>
                <c:pt idx="79">
                  <c:v>1013.6836793699539</c:v>
                </c:pt>
                <c:pt idx="80">
                  <c:v>1009.8145291756862</c:v>
                </c:pt>
                <c:pt idx="81">
                  <c:v>1005.1240476885005</c:v>
                </c:pt>
                <c:pt idx="82">
                  <c:v>999.62215682422038</c:v>
                </c:pt>
                <c:pt idx="83">
                  <c:v>993.31067810810487</c:v>
                </c:pt>
                <c:pt idx="84">
                  <c:v>986.2174100277025</c:v>
                </c:pt>
                <c:pt idx="85">
                  <c:v>978.3679830502216</c:v>
                </c:pt>
                <c:pt idx="86">
                  <c:v>969.78903810151735</c:v>
                </c:pt>
                <c:pt idx="87">
                  <c:v>960.5030380806902</c:v>
                </c:pt>
                <c:pt idx="88">
                  <c:v>950.54002594936969</c:v>
                </c:pt>
                <c:pt idx="89">
                  <c:v>939.92643156297208</c:v>
                </c:pt>
                <c:pt idx="90">
                  <c:v>928.68679284497784</c:v>
                </c:pt>
                <c:pt idx="91">
                  <c:v>916.85197503342897</c:v>
                </c:pt>
                <c:pt idx="92">
                  <c:v>904.45639301939104</c:v>
                </c:pt>
                <c:pt idx="93">
                  <c:v>891.53295792184622</c:v>
                </c:pt>
                <c:pt idx="94">
                  <c:v>878.11396244792013</c:v>
                </c:pt>
                <c:pt idx="95">
                  <c:v>864.23301392715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539.42795017618573</c:v>
                </c:pt>
                <c:pt idx="43">
                  <c:v>568.97315736335486</c:v>
                </c:pt>
                <c:pt idx="44">
                  <c:v>598.1315041085453</c:v>
                </c:pt>
                <c:pt idx="45">
                  <c:v>626.41969743022628</c:v>
                </c:pt>
                <c:pt idx="46">
                  <c:v>655.01089073764501</c:v>
                </c:pt>
                <c:pt idx="47">
                  <c:v>684.35382358599531</c:v>
                </c:pt>
                <c:pt idx="48">
                  <c:v>713.76435200672961</c:v>
                </c:pt>
                <c:pt idx="49">
                  <c:v>743.03004175543219</c:v>
                </c:pt>
                <c:pt idx="50">
                  <c:v>770.766517488506</c:v>
                </c:pt>
                <c:pt idx="51">
                  <c:v>798.64187711591785</c:v>
                </c:pt>
                <c:pt idx="52">
                  <c:v>826.42985741506754</c:v>
                </c:pt>
                <c:pt idx="53">
                  <c:v>854.58263757347913</c:v>
                </c:pt>
                <c:pt idx="54">
                  <c:v>881.58054805199367</c:v>
                </c:pt>
                <c:pt idx="55">
                  <c:v>908.16769807312016</c:v>
                </c:pt>
                <c:pt idx="56">
                  <c:v>935.01565076027282</c:v>
                </c:pt>
                <c:pt idx="57">
                  <c:v>961.24569155628285</c:v>
                </c:pt>
                <c:pt idx="58">
                  <c:v>987.00108213151634</c:v>
                </c:pt>
                <c:pt idx="59">
                  <c:v>1012.1308299236841</c:v>
                </c:pt>
                <c:pt idx="60">
                  <c:v>1037.1199403648313</c:v>
                </c:pt>
                <c:pt idx="61">
                  <c:v>1061.3245002309604</c:v>
                </c:pt>
                <c:pt idx="62">
                  <c:v>1084.6898012894039</c:v>
                </c:pt>
                <c:pt idx="63">
                  <c:v>1107.4567573587524</c:v>
                </c:pt>
                <c:pt idx="64">
                  <c:v>1129.7496142613702</c:v>
                </c:pt>
                <c:pt idx="65">
                  <c:v>1151.0393588208663</c:v>
                </c:pt>
                <c:pt idx="66">
                  <c:v>1171.3422472676352</c:v>
                </c:pt>
                <c:pt idx="67">
                  <c:v>1190.7882001243631</c:v>
                </c:pt>
                <c:pt idx="68">
                  <c:v>1209.3825298062034</c:v>
                </c:pt>
                <c:pt idx="69">
                  <c:v>1227.0219736038248</c:v>
                </c:pt>
                <c:pt idx="70">
                  <c:v>1243.6064356066204</c:v>
                </c:pt>
                <c:pt idx="71">
                  <c:v>1259.2345301756518</c:v>
                </c:pt>
                <c:pt idx="72">
                  <c:v>1273.6862264634728</c:v>
                </c:pt>
                <c:pt idx="73">
                  <c:v>1286.9321870926633</c:v>
                </c:pt>
                <c:pt idx="74">
                  <c:v>1298.8300724689871</c:v>
                </c:pt>
                <c:pt idx="75">
                  <c:v>1309.4916527318251</c:v>
                </c:pt>
                <c:pt idx="76">
                  <c:v>1318.8845836412895</c:v>
                </c:pt>
                <c:pt idx="77">
                  <c:v>1326.9681222485583</c:v>
                </c:pt>
                <c:pt idx="78">
                  <c:v>1333.6690666647505</c:v>
                </c:pt>
                <c:pt idx="79">
                  <c:v>1338.930546977155</c:v>
                </c:pt>
                <c:pt idx="80">
                  <c:v>1342.7774565222339</c:v>
                </c:pt>
                <c:pt idx="81">
                  <c:v>1345.2098877066833</c:v>
                </c:pt>
                <c:pt idx="82">
                  <c:v>1346.2151346762907</c:v>
                </c:pt>
                <c:pt idx="83">
                  <c:v>1345.7758817215599</c:v>
                </c:pt>
                <c:pt idx="84">
                  <c:v>1343.904277604388</c:v>
                </c:pt>
                <c:pt idx="85">
                  <c:v>1340.613916579005</c:v>
                </c:pt>
                <c:pt idx="86">
                  <c:v>1335.9229836655982</c:v>
                </c:pt>
                <c:pt idx="87">
                  <c:v>1329.8490735910939</c:v>
                </c:pt>
                <c:pt idx="88">
                  <c:v>1322.4208701280554</c:v>
                </c:pt>
                <c:pt idx="89">
                  <c:v>1313.6668531908967</c:v>
                </c:pt>
                <c:pt idx="90">
                  <c:v>1303.6168668083906</c:v>
                </c:pt>
                <c:pt idx="91">
                  <c:v>1292.3102075588404</c:v>
                </c:pt>
                <c:pt idx="92">
                  <c:v>1279.7927303310021</c:v>
                </c:pt>
                <c:pt idx="93">
                  <c:v>1266.1116307990249</c:v>
                </c:pt>
                <c:pt idx="94">
                  <c:v>1251.3161224681357</c:v>
                </c:pt>
                <c:pt idx="95">
                  <c:v>1235.45907548037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540.51549826427538</c:v>
                </c:pt>
                <c:pt idx="43">
                  <c:v>571.5910858627758</c:v>
                </c:pt>
                <c:pt idx="44">
                  <c:v>602.78128618527444</c:v>
                </c:pt>
                <c:pt idx="45">
                  <c:v>633.65767568492367</c:v>
                </c:pt>
                <c:pt idx="46">
                  <c:v>665.43341592890374</c:v>
                </c:pt>
                <c:pt idx="47">
                  <c:v>698.61618345308102</c:v>
                </c:pt>
                <c:pt idx="48">
                  <c:v>732.54225933768271</c:v>
                </c:pt>
                <c:pt idx="49">
                  <c:v>767.03291820809523</c:v>
                </c:pt>
                <c:pt idx="50">
                  <c:v>800.71516712438824</c:v>
                </c:pt>
                <c:pt idx="51">
                  <c:v>835.27358124687066</c:v>
                </c:pt>
                <c:pt idx="52">
                  <c:v>870.48853065666231</c:v>
                </c:pt>
                <c:pt idx="53">
                  <c:v>906.80570036789447</c:v>
                </c:pt>
                <c:pt idx="54">
                  <c:v>942.70150185963507</c:v>
                </c:pt>
                <c:pt idx="55">
                  <c:v>978.90032392433909</c:v>
                </c:pt>
                <c:pt idx="56">
                  <c:v>1016.0577294254426</c:v>
                </c:pt>
                <c:pt idx="57">
                  <c:v>1053.2672304785012</c:v>
                </c:pt>
                <c:pt idx="58">
                  <c:v>1090.637222738329</c:v>
                </c:pt>
                <c:pt idx="59">
                  <c:v>1127.9581155742762</c:v>
                </c:pt>
                <c:pt idx="60">
                  <c:v>1165.6791847393633</c:v>
                </c:pt>
                <c:pt idx="61">
                  <c:v>1203.0930349235341</c:v>
                </c:pt>
                <c:pt idx="62">
                  <c:v>1240.0942579410014</c:v>
                </c:pt>
                <c:pt idx="63">
                  <c:v>1276.8724773822505</c:v>
                </c:pt>
                <c:pt idx="64">
                  <c:v>1313.4847162796664</c:v>
                </c:pt>
                <c:pt idx="65">
                  <c:v>1349.3326589612561</c:v>
                </c:pt>
                <c:pt idx="66">
                  <c:v>1384.3653204047293</c:v>
                </c:pt>
                <c:pt idx="67">
                  <c:v>1418.648935416436</c:v>
                </c:pt>
                <c:pt idx="68">
                  <c:v>1452.1168655310275</c:v>
                </c:pt>
                <c:pt idx="69">
                  <c:v>1484.5923372331545</c:v>
                </c:pt>
                <c:pt idx="70">
                  <c:v>1515.8983249539224</c:v>
                </c:pt>
                <c:pt idx="71">
                  <c:v>1546.0559322987924</c:v>
                </c:pt>
                <c:pt idx="72">
                  <c:v>1574.7652533883713</c:v>
                </c:pt>
                <c:pt idx="73">
                  <c:v>1601.9234507262049</c:v>
                </c:pt>
                <c:pt idx="74">
                  <c:v>1627.313656451023</c:v>
                </c:pt>
                <c:pt idx="75">
                  <c:v>1650.9782259636629</c:v>
                </c:pt>
                <c:pt idx="76">
                  <c:v>1672.8158770640275</c:v>
                </c:pt>
                <c:pt idx="77">
                  <c:v>1692.7200867042798</c:v>
                </c:pt>
                <c:pt idx="78">
                  <c:v>1710.5518765775907</c:v>
                </c:pt>
                <c:pt idx="79">
                  <c:v>1726.1949688739619</c:v>
                </c:pt>
                <c:pt idx="80">
                  <c:v>1739.6232706404064</c:v>
                </c:pt>
                <c:pt idx="81">
                  <c:v>1750.7889331175338</c:v>
                </c:pt>
                <c:pt idx="82">
                  <c:v>1759.6370090297041</c:v>
                </c:pt>
                <c:pt idx="83">
                  <c:v>1766.1139568243143</c:v>
                </c:pt>
                <c:pt idx="84">
                  <c:v>1770.2019250764154</c:v>
                </c:pt>
                <c:pt idx="85">
                  <c:v>1771.8910267806193</c:v>
                </c:pt>
                <c:pt idx="86">
                  <c:v>1771.1825775644397</c:v>
                </c:pt>
                <c:pt idx="87">
                  <c:v>1768.0840056424856</c:v>
                </c:pt>
                <c:pt idx="88">
                  <c:v>1762.6204862582392</c:v>
                </c:pt>
                <c:pt idx="89">
                  <c:v>1754.823532372196</c:v>
                </c:pt>
                <c:pt idx="90">
                  <c:v>1744.7323500935113</c:v>
                </c:pt>
                <c:pt idx="91">
                  <c:v>1732.4017006102067</c:v>
                </c:pt>
                <c:pt idx="92">
                  <c:v>1717.8987505964114</c:v>
                </c:pt>
                <c:pt idx="93">
                  <c:v>1701.2975179488428</c:v>
                </c:pt>
                <c:pt idx="94">
                  <c:v>1682.6791354108339</c:v>
                </c:pt>
                <c:pt idx="95">
                  <c:v>1662.13305359800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1</c:v>
                </c:pt>
                <c:pt idx="12">
                  <c:v>1</c:v>
                </c:pt>
                <c:pt idx="13">
                  <c:v>2</c:v>
                </c:pt>
                <c:pt idx="14">
                  <c:v>3</c:v>
                </c:pt>
                <c:pt idx="15">
                  <c:v>3</c:v>
                </c:pt>
                <c:pt idx="16">
                  <c:v>3</c:v>
                </c:pt>
                <c:pt idx="17">
                  <c:v>4</c:v>
                </c:pt>
                <c:pt idx="18">
                  <c:v>5</c:v>
                </c:pt>
                <c:pt idx="19">
                  <c:v>5</c:v>
                </c:pt>
                <c:pt idx="20">
                  <c:v>4</c:v>
                </c:pt>
                <c:pt idx="21">
                  <c:v>5</c:v>
                </c:pt>
                <c:pt idx="22">
                  <c:v>5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4</c:v>
                </c:pt>
                <c:pt idx="27">
                  <c:v>4</c:v>
                </c:pt>
                <c:pt idx="28">
                  <c:v>5</c:v>
                </c:pt>
                <c:pt idx="29">
                  <c:v>5</c:v>
                </c:pt>
                <c:pt idx="30">
                  <c:v>5</c:v>
                </c:pt>
                <c:pt idx="31">
                  <c:v>5</c:v>
                </c:pt>
                <c:pt idx="32">
                  <c:v>5</c:v>
                </c:pt>
                <c:pt idx="33">
                  <c:v>4</c:v>
                </c:pt>
                <c:pt idx="34">
                  <c:v>4</c:v>
                </c:pt>
                <c:pt idx="35">
                  <c:v>6</c:v>
                </c:pt>
                <c:pt idx="36">
                  <c:v>7</c:v>
                </c:pt>
                <c:pt idx="37">
                  <c:v>11</c:v>
                </c:pt>
                <c:pt idx="38">
                  <c:v>13</c:v>
                </c:pt>
                <c:pt idx="39">
                  <c:v>13</c:v>
                </c:pt>
                <c:pt idx="40">
                  <c:v>16</c:v>
                </c:pt>
                <c:pt idx="41">
                  <c:v>14</c:v>
                </c:pt>
                <c:pt idx="42">
                  <c:v>16</c:v>
                </c:pt>
                <c:pt idx="43">
                  <c:v>18</c:v>
                </c:pt>
                <c:pt idx="44">
                  <c:v>20</c:v>
                </c:pt>
                <c:pt idx="45">
                  <c:v>17</c:v>
                </c:pt>
                <c:pt idx="46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8.337045981844554</c:v>
                </c:pt>
                <c:pt idx="43">
                  <c:v>19.304987645121713</c:v>
                </c:pt>
                <c:pt idx="44">
                  <c:v>20.241425418611097</c:v>
                </c:pt>
                <c:pt idx="45">
                  <c:v>21.134809100257591</c:v>
                </c:pt>
                <c:pt idx="46">
                  <c:v>22.021878414219501</c:v>
                </c:pt>
                <c:pt idx="47">
                  <c:v>22.915646364939047</c:v>
                </c:pt>
                <c:pt idx="48">
                  <c:v>23.78588023231892</c:v>
                </c:pt>
                <c:pt idx="49">
                  <c:v>24.63098337863503</c:v>
                </c:pt>
                <c:pt idx="50">
                  <c:v>25.407923052619125</c:v>
                </c:pt>
                <c:pt idx="51">
                  <c:v>26.162976352376155</c:v>
                </c:pt>
                <c:pt idx="52">
                  <c:v>26.8888025980281</c:v>
                </c:pt>
                <c:pt idx="53">
                  <c:v>27.605004574836865</c:v>
                </c:pt>
                <c:pt idx="54">
                  <c:v>28.26605603776752</c:v>
                </c:pt>
                <c:pt idx="55">
                  <c:v>28.889150590928878</c:v>
                </c:pt>
                <c:pt idx="56">
                  <c:v>29.499333290727549</c:v>
                </c:pt>
                <c:pt idx="57">
                  <c:v>30.069795449746152</c:v>
                </c:pt>
                <c:pt idx="58">
                  <c:v>30.609299015978998</c:v>
                </c:pt>
                <c:pt idx="59">
                  <c:v>31.11090831586376</c:v>
                </c:pt>
                <c:pt idx="60">
                  <c:v>31.58976298420362</c:v>
                </c:pt>
                <c:pt idx="61">
                  <c:v>32.033796400336328</c:v>
                </c:pt>
                <c:pt idx="62">
                  <c:v>32.438763129296014</c:v>
                </c:pt>
                <c:pt idx="63">
                  <c:v>32.816247546657081</c:v>
                </c:pt>
                <c:pt idx="64">
                  <c:v>33.169400866778574</c:v>
                </c:pt>
                <c:pt idx="65">
                  <c:v>33.484848539421321</c:v>
                </c:pt>
                <c:pt idx="66">
                  <c:v>33.764020103569671</c:v>
                </c:pt>
                <c:pt idx="67">
                  <c:v>34.012429618358553</c:v>
                </c:pt>
                <c:pt idx="68">
                  <c:v>34.232979923819109</c:v>
                </c:pt>
                <c:pt idx="69">
                  <c:v>34.424405735591492</c:v>
                </c:pt>
                <c:pt idx="70">
                  <c:v>34.58496165870018</c:v>
                </c:pt>
                <c:pt idx="71">
                  <c:v>34.718637148415198</c:v>
                </c:pt>
                <c:pt idx="72">
                  <c:v>34.820321738446083</c:v>
                </c:pt>
                <c:pt idx="73">
                  <c:v>34.891085501780573</c:v>
                </c:pt>
                <c:pt idx="74">
                  <c:v>34.927575573331538</c:v>
                </c:pt>
                <c:pt idx="75">
                  <c:v>34.935104944328714</c:v>
                </c:pt>
                <c:pt idx="76">
                  <c:v>34.914168734851316</c:v>
                </c:pt>
                <c:pt idx="77">
                  <c:v>34.864556164107064</c:v>
                </c:pt>
                <c:pt idx="78">
                  <c:v>34.78498721302789</c:v>
                </c:pt>
                <c:pt idx="79">
                  <c:v>34.674544699317224</c:v>
                </c:pt>
                <c:pt idx="80">
                  <c:v>34.535271640512988</c:v>
                </c:pt>
                <c:pt idx="81">
                  <c:v>34.368090154794899</c:v>
                </c:pt>
                <c:pt idx="82">
                  <c:v>34.173345780684073</c:v>
                </c:pt>
                <c:pt idx="83">
                  <c:v>33.951089923896589</c:v>
                </c:pt>
                <c:pt idx="84">
                  <c:v>33.702321290526314</c:v>
                </c:pt>
                <c:pt idx="85">
                  <c:v>33.427942375673013</c:v>
                </c:pt>
                <c:pt idx="86">
                  <c:v>33.128889957751738</c:v>
                </c:pt>
                <c:pt idx="87">
                  <c:v>32.805964037969417</c:v>
                </c:pt>
                <c:pt idx="88">
                  <c:v>32.460221964441068</c:v>
                </c:pt>
                <c:pt idx="89">
                  <c:v>32.092568858733486</c:v>
                </c:pt>
                <c:pt idx="90">
                  <c:v>31.703821192003488</c:v>
                </c:pt>
                <c:pt idx="91">
                  <c:v>31.295050369350953</c:v>
                </c:pt>
                <c:pt idx="92">
                  <c:v>30.867456887528959</c:v>
                </c:pt>
                <c:pt idx="93">
                  <c:v>30.422175808645104</c:v>
                </c:pt>
                <c:pt idx="94">
                  <c:v>29.96031262344512</c:v>
                </c:pt>
                <c:pt idx="95">
                  <c:v>29.4830206624816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8.375009575502837</c:v>
                </c:pt>
                <c:pt idx="43">
                  <c:v>19.396100422614825</c:v>
                </c:pt>
                <c:pt idx="44">
                  <c:v>20.40255525080272</c:v>
                </c:pt>
                <c:pt idx="45">
                  <c:v>21.38438228053996</c:v>
                </c:pt>
                <c:pt idx="46">
                  <c:v>22.37935438681567</c:v>
                </c:pt>
                <c:pt idx="47">
                  <c:v>23.402148705921924</c:v>
                </c:pt>
                <c:pt idx="48">
                  <c:v>24.422743656923647</c:v>
                </c:pt>
                <c:pt idx="49">
                  <c:v>25.440202438938066</c:v>
                </c:pt>
                <c:pt idx="50">
                  <c:v>26.411401569711238</c:v>
                </c:pt>
                <c:pt idx="51">
                  <c:v>27.382565351194902</c:v>
                </c:pt>
                <c:pt idx="52">
                  <c:v>28.346116946268431</c:v>
                </c:pt>
                <c:pt idx="53">
                  <c:v>29.320945087465319</c:v>
                </c:pt>
                <c:pt idx="54">
                  <c:v>30.261004173345459</c:v>
                </c:pt>
                <c:pt idx="55">
                  <c:v>31.182335106460854</c:v>
                </c:pt>
                <c:pt idx="56">
                  <c:v>32.109091750982969</c:v>
                </c:pt>
                <c:pt idx="57">
                  <c:v>33.013280078170489</c:v>
                </c:pt>
                <c:pt idx="58">
                  <c:v>33.902200942100265</c:v>
                </c:pt>
                <c:pt idx="59">
                  <c:v>34.766708717073044</c:v>
                </c:pt>
                <c:pt idx="60">
                  <c:v>35.620611815162242</c:v>
                </c:pt>
                <c:pt idx="61">
                  <c:v>36.449762624905951</c:v>
                </c:pt>
                <c:pt idx="62">
                  <c:v>37.248299967607025</c:v>
                </c:pt>
                <c:pt idx="63">
                  <c:v>38.026331094987754</c:v>
                </c:pt>
                <c:pt idx="64">
                  <c:v>38.78495339537541</c:v>
                </c:pt>
                <c:pt idx="65">
                  <c:v>39.508890726536663</c:v>
                </c:pt>
                <c:pt idx="66">
                  <c:v>40.197763958611453</c:v>
                </c:pt>
                <c:pt idx="67">
                  <c:v>40.855533073786646</c:v>
                </c:pt>
                <c:pt idx="68">
                  <c:v>41.483332909771597</c:v>
                </c:pt>
                <c:pt idx="69">
                  <c:v>42.078154862649392</c:v>
                </c:pt>
                <c:pt idx="70">
                  <c:v>42.636473538845365</c:v>
                </c:pt>
                <c:pt idx="71">
                  <c:v>43.160498915410884</c:v>
                </c:pt>
                <c:pt idx="72">
                  <c:v>43.643338751127416</c:v>
                </c:pt>
                <c:pt idx="73">
                  <c:v>44.08454338843697</c:v>
                </c:pt>
                <c:pt idx="74">
                  <c:v>44.479215578410759</c:v>
                </c:pt>
                <c:pt idx="75">
                  <c:v>44.831294029290405</c:v>
                </c:pt>
                <c:pt idx="76">
                  <c:v>45.139920087581942</c:v>
                </c:pt>
                <c:pt idx="77">
                  <c:v>45.403619632876868</c:v>
                </c:pt>
                <c:pt idx="78">
                  <c:v>45.619798057285138</c:v>
                </c:pt>
                <c:pt idx="79">
                  <c:v>45.786407959767239</c:v>
                </c:pt>
                <c:pt idx="80">
                  <c:v>45.904612235501936</c:v>
                </c:pt>
                <c:pt idx="81">
                  <c:v>45.97447728731369</c:v>
                </c:pt>
                <c:pt idx="82">
                  <c:v>45.995610489910121</c:v>
                </c:pt>
                <c:pt idx="83">
                  <c:v>45.967444431112924</c:v>
                </c:pt>
                <c:pt idx="84">
                  <c:v>45.89047808140019</c:v>
                </c:pt>
                <c:pt idx="85">
                  <c:v>45.765237808883271</c:v>
                </c:pt>
                <c:pt idx="86">
                  <c:v>45.592406197681939</c:v>
                </c:pt>
                <c:pt idx="87">
                  <c:v>45.372651115167962</c:v>
                </c:pt>
                <c:pt idx="88">
                  <c:v>45.107016957127286</c:v>
                </c:pt>
                <c:pt idx="89">
                  <c:v>44.79651136817283</c:v>
                </c:pt>
                <c:pt idx="90">
                  <c:v>44.442163026944883</c:v>
                </c:pt>
                <c:pt idx="91">
                  <c:v>44.045360541105104</c:v>
                </c:pt>
                <c:pt idx="92">
                  <c:v>43.607722676978</c:v>
                </c:pt>
                <c:pt idx="93">
                  <c:v>43.130898145759097</c:v>
                </c:pt>
                <c:pt idx="94">
                  <c:v>42.616594082739141</c:v>
                </c:pt>
                <c:pt idx="95">
                  <c:v>42.0666428034097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8.413188386699268</c:v>
                </c:pt>
                <c:pt idx="43">
                  <c:v>19.487996065349463</c:v>
                </c:pt>
                <c:pt idx="44">
                  <c:v>20.565634814714009</c:v>
                </c:pt>
                <c:pt idx="45">
                  <c:v>21.63797439602947</c:v>
                </c:pt>
                <c:pt idx="46">
                  <c:v>22.744169812604056</c:v>
                </c:pt>
                <c:pt idx="47">
                  <c:v>23.900953166945808</c:v>
                </c:pt>
                <c:pt idx="48">
                  <c:v>25.078932196373408</c:v>
                </c:pt>
                <c:pt idx="49">
                  <c:v>26.278272954577286</c:v>
                </c:pt>
                <c:pt idx="50">
                  <c:v>27.456214605824449</c:v>
                </c:pt>
                <c:pt idx="51">
                  <c:v>28.659385194271728</c:v>
                </c:pt>
                <c:pt idx="52">
                  <c:v>29.880420264530201</c:v>
                </c:pt>
                <c:pt idx="53">
                  <c:v>31.137920817458593</c:v>
                </c:pt>
                <c:pt idx="54">
                  <c:v>32.38571663541849</c:v>
                </c:pt>
                <c:pt idx="55">
                  <c:v>33.639045651032198</c:v>
                </c:pt>
                <c:pt idx="56">
                  <c:v>34.921472942906206</c:v>
                </c:pt>
                <c:pt idx="57">
                  <c:v>36.204061068004648</c:v>
                </c:pt>
                <c:pt idx="58">
                  <c:v>37.492825415230783</c:v>
                </c:pt>
                <c:pt idx="59">
                  <c:v>38.776508779800515</c:v>
                </c:pt>
                <c:pt idx="60">
                  <c:v>40.067603598532557</c:v>
                </c:pt>
                <c:pt idx="61">
                  <c:v>41.349803683164261</c:v>
                </c:pt>
                <c:pt idx="62">
                  <c:v>42.615459740959039</c:v>
                </c:pt>
                <c:pt idx="63">
                  <c:v>43.872934571668424</c:v>
                </c:pt>
                <c:pt idx="64">
                  <c:v>45.120906976527962</c:v>
                </c:pt>
                <c:pt idx="65">
                  <c:v>46.341746745426924</c:v>
                </c:pt>
                <c:pt idx="66">
                  <c:v>47.532729113909568</c:v>
                </c:pt>
                <c:pt idx="67">
                  <c:v>48.695636519384792</c:v>
                </c:pt>
                <c:pt idx="68">
                  <c:v>49.829132553984699</c:v>
                </c:pt>
                <c:pt idx="69">
                  <c:v>50.927690316683595</c:v>
                </c:pt>
                <c:pt idx="70">
                  <c:v>51.985166807741493</c:v>
                </c:pt>
                <c:pt idx="71">
                  <c:v>53.001101778870179</c:v>
                </c:pt>
                <c:pt idx="72">
                  <c:v>53.965891384150538</c:v>
                </c:pt>
                <c:pt idx="73">
                  <c:v>54.876610090662339</c:v>
                </c:pt>
                <c:pt idx="74">
                  <c:v>55.725844496312035</c:v>
                </c:pt>
                <c:pt idx="75">
                  <c:v>56.515184477261869</c:v>
                </c:pt>
                <c:pt idx="76">
                  <c:v>57.241453556756532</c:v>
                </c:pt>
                <c:pt idx="77">
                  <c:v>57.900973770782514</c:v>
                </c:pt>
                <c:pt idx="78">
                  <c:v>58.48893121962913</c:v>
                </c:pt>
                <c:pt idx="79">
                  <c:v>59.001292138218268</c:v>
                </c:pt>
                <c:pt idx="80">
                  <c:v>59.437544062451629</c:v>
                </c:pt>
                <c:pt idx="81">
                  <c:v>59.796173328613492</c:v>
                </c:pt>
                <c:pt idx="82">
                  <c:v>60.075404744586891</c:v>
                </c:pt>
                <c:pt idx="83">
                  <c:v>60.273495949588394</c:v>
                </c:pt>
                <c:pt idx="84">
                  <c:v>60.389985234004904</c:v>
                </c:pt>
                <c:pt idx="85">
                  <c:v>60.424662367252218</c:v>
                </c:pt>
                <c:pt idx="86">
                  <c:v>60.377699593506136</c:v>
                </c:pt>
                <c:pt idx="87">
                  <c:v>60.249483240619092</c:v>
                </c:pt>
                <c:pt idx="88">
                  <c:v>60.04100280535171</c:v>
                </c:pt>
                <c:pt idx="89">
                  <c:v>59.753432946877943</c:v>
                </c:pt>
                <c:pt idx="90">
                  <c:v>59.388182999013608</c:v>
                </c:pt>
                <c:pt idx="91">
                  <c:v>58.947227524922781</c:v>
                </c:pt>
                <c:pt idx="92">
                  <c:v>58.432967505664195</c:v>
                </c:pt>
                <c:pt idx="93">
                  <c:v>57.848018217580346</c:v>
                </c:pt>
                <c:pt idx="94">
                  <c:v>57.195223020304411</c:v>
                </c:pt>
                <c:pt idx="95">
                  <c:v>56.4777048640813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3</c:v>
                </c:pt>
                <c:pt idx="12">
                  <c:v>3</c:v>
                </c:pt>
                <c:pt idx="13">
                  <c:v>2</c:v>
                </c:pt>
                <c:pt idx="14">
                  <c:v>1</c:v>
                </c:pt>
                <c:pt idx="15">
                  <c:v>1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2</c:v>
                </c:pt>
                <c:pt idx="24">
                  <c:v>3</c:v>
                </c:pt>
                <c:pt idx="25">
                  <c:v>4</c:v>
                </c:pt>
                <c:pt idx="26">
                  <c:v>6</c:v>
                </c:pt>
                <c:pt idx="27">
                  <c:v>5</c:v>
                </c:pt>
                <c:pt idx="28">
                  <c:v>6</c:v>
                </c:pt>
                <c:pt idx="29">
                  <c:v>5</c:v>
                </c:pt>
                <c:pt idx="30">
                  <c:v>4</c:v>
                </c:pt>
                <c:pt idx="31">
                  <c:v>5</c:v>
                </c:pt>
                <c:pt idx="32">
                  <c:v>5</c:v>
                </c:pt>
                <c:pt idx="33">
                  <c:v>6</c:v>
                </c:pt>
                <c:pt idx="34">
                  <c:v>4</c:v>
                </c:pt>
                <c:pt idx="35">
                  <c:v>6</c:v>
                </c:pt>
                <c:pt idx="36">
                  <c:v>6</c:v>
                </c:pt>
                <c:pt idx="37">
                  <c:v>8</c:v>
                </c:pt>
                <c:pt idx="38">
                  <c:v>9</c:v>
                </c:pt>
                <c:pt idx="39">
                  <c:v>10</c:v>
                </c:pt>
                <c:pt idx="40">
                  <c:v>12</c:v>
                </c:pt>
                <c:pt idx="41">
                  <c:v>13</c:v>
                </c:pt>
                <c:pt idx="42">
                  <c:v>13</c:v>
                </c:pt>
                <c:pt idx="43">
                  <c:v>13</c:v>
                </c:pt>
                <c:pt idx="44">
                  <c:v>17</c:v>
                </c:pt>
                <c:pt idx="45">
                  <c:v>17</c:v>
                </c:pt>
                <c:pt idx="46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0.998116396827825</c:v>
                </c:pt>
                <c:pt idx="43">
                  <c:v>11.5726156664802</c:v>
                </c:pt>
                <c:pt idx="44">
                  <c:v>12.129059928243104</c:v>
                </c:pt>
                <c:pt idx="45">
                  <c:v>12.657539887988577</c:v>
                </c:pt>
                <c:pt idx="46">
                  <c:v>13.181101826310687</c:v>
                </c:pt>
                <c:pt idx="47">
                  <c:v>13.707848254615193</c:v>
                </c:pt>
                <c:pt idx="48">
                  <c:v>14.222701532981109</c:v>
                </c:pt>
                <c:pt idx="49">
                  <c:v>14.721784162711849</c:v>
                </c:pt>
                <c:pt idx="50">
                  <c:v>15.177419136019434</c:v>
                </c:pt>
                <c:pt idx="51">
                  <c:v>15.622159808887199</c:v>
                </c:pt>
                <c:pt idx="52">
                  <c:v>16.051537219597954</c:v>
                </c:pt>
                <c:pt idx="53">
                  <c:v>16.475675920265083</c:v>
                </c:pt>
                <c:pt idx="54">
                  <c:v>16.864647838787938</c:v>
                </c:pt>
                <c:pt idx="55">
                  <c:v>17.232986458927279</c:v>
                </c:pt>
                <c:pt idx="56">
                  <c:v>17.595109253011202</c:v>
                </c:pt>
                <c:pt idx="57">
                  <c:v>17.934053094867011</c:v>
                </c:pt>
                <c:pt idx="58">
                  <c:v>18.253921277361059</c:v>
                </c:pt>
                <c:pt idx="59">
                  <c:v>18.552348271948539</c:v>
                </c:pt>
                <c:pt idx="60">
                  <c:v>18.839623934046756</c:v>
                </c:pt>
                <c:pt idx="61">
                  <c:v>19.104942029019369</c:v>
                </c:pt>
                <c:pt idx="62">
                  <c:v>19.347575652604093</c:v>
                </c:pt>
                <c:pt idx="63">
                  <c:v>19.573609597492535</c:v>
                </c:pt>
                <c:pt idx="64">
                  <c:v>19.786326051002526</c:v>
                </c:pt>
                <c:pt idx="65">
                  <c:v>19.976455024302528</c:v>
                </c:pt>
                <c:pt idx="66">
                  <c:v>20.145267101511546</c:v>
                </c:pt>
                <c:pt idx="67">
                  <c:v>20.296288831208901</c:v>
                </c:pt>
                <c:pt idx="68">
                  <c:v>20.430821802568573</c:v>
                </c:pt>
                <c:pt idx="69">
                  <c:v>20.547874291054459</c:v>
                </c:pt>
                <c:pt idx="70">
                  <c:v>20.646460651505098</c:v>
                </c:pt>
                <c:pt idx="71">
                  <c:v>20.729493683389634</c:v>
                </c:pt>
                <c:pt idx="72">
                  <c:v>20.79363967495463</c:v>
                </c:pt>
                <c:pt idx="73">
                  <c:v>20.839303191048039</c:v>
                </c:pt>
                <c:pt idx="74">
                  <c:v>20.864507255847201</c:v>
                </c:pt>
                <c:pt idx="75">
                  <c:v>20.872384737057143</c:v>
                </c:pt>
                <c:pt idx="76">
                  <c:v>20.86313274977184</c:v>
                </c:pt>
                <c:pt idx="77">
                  <c:v>20.83667774494365</c:v>
                </c:pt>
                <c:pt idx="78">
                  <c:v>20.792302971336603</c:v>
                </c:pt>
                <c:pt idx="79">
                  <c:v>20.729519309739963</c:v>
                </c:pt>
                <c:pt idx="80">
                  <c:v>20.649427159732177</c:v>
                </c:pt>
                <c:pt idx="81">
                  <c:v>20.552565136147287</c:v>
                </c:pt>
                <c:pt idx="82">
                  <c:v>20.439136999367754</c:v>
                </c:pt>
                <c:pt idx="83">
                  <c:v>20.309178472728128</c:v>
                </c:pt>
                <c:pt idx="84">
                  <c:v>20.163264721167181</c:v>
                </c:pt>
                <c:pt idx="85">
                  <c:v>20.001923487217049</c:v>
                </c:pt>
                <c:pt idx="86">
                  <c:v>19.825703137650958</c:v>
                </c:pt>
                <c:pt idx="87">
                  <c:v>19.635067459240886</c:v>
                </c:pt>
                <c:pt idx="88">
                  <c:v>19.430634977065246</c:v>
                </c:pt>
                <c:pt idx="89">
                  <c:v>19.212946320448211</c:v>
                </c:pt>
                <c:pt idx="90">
                  <c:v>18.982500078553493</c:v>
                </c:pt>
                <c:pt idx="91">
                  <c:v>18.739929621954452</c:v>
                </c:pt>
                <c:pt idx="92">
                  <c:v>18.485941984399723</c:v>
                </c:pt>
                <c:pt idx="93">
                  <c:v>18.221211488557099</c:v>
                </c:pt>
                <c:pt idx="94">
                  <c:v>17.94639863230136</c:v>
                </c:pt>
                <c:pt idx="95">
                  <c:v>17.6621911990958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1.020367087204368</c:v>
                </c:pt>
                <c:pt idx="43">
                  <c:v>11.626020952778021</c:v>
                </c:pt>
                <c:pt idx="44">
                  <c:v>12.223567239374578</c:v>
                </c:pt>
                <c:pt idx="45">
                  <c:v>12.80403833961406</c:v>
                </c:pt>
                <c:pt idx="46">
                  <c:v>13.391094964068454</c:v>
                </c:pt>
                <c:pt idx="47">
                  <c:v>13.993819526972151</c:v>
                </c:pt>
                <c:pt idx="48">
                  <c:v>14.597294785263571</c:v>
                </c:pt>
                <c:pt idx="49">
                  <c:v>15.19806268959076</c:v>
                </c:pt>
                <c:pt idx="50">
                  <c:v>15.76840553991245</c:v>
                </c:pt>
                <c:pt idx="51">
                  <c:v>16.340918479836017</c:v>
                </c:pt>
                <c:pt idx="52">
                  <c:v>16.91099729202551</c:v>
                </c:pt>
                <c:pt idx="53">
                  <c:v>17.488367875058334</c:v>
                </c:pt>
                <c:pt idx="54">
                  <c:v>18.042784616081327</c:v>
                </c:pt>
                <c:pt idx="55">
                  <c:v>18.588146591545801</c:v>
                </c:pt>
                <c:pt idx="56">
                  <c:v>19.138352546845994</c:v>
                </c:pt>
                <c:pt idx="57">
                  <c:v>19.675721954164818</c:v>
                </c:pt>
                <c:pt idx="58">
                  <c:v>20.203520519620163</c:v>
                </c:pt>
                <c:pt idx="59">
                  <c:v>20.718103199723863</c:v>
                </c:pt>
                <c:pt idx="60">
                  <c:v>21.228998742788406</c:v>
                </c:pt>
                <c:pt idx="61">
                  <c:v>21.724142283620484</c:v>
                </c:pt>
                <c:pt idx="62">
                  <c:v>22.201856489596338</c:v>
                </c:pt>
                <c:pt idx="63">
                  <c:v>22.667329272732843</c:v>
                </c:pt>
                <c:pt idx="64">
                  <c:v>23.122660059603405</c:v>
                </c:pt>
                <c:pt idx="65">
                  <c:v>23.557425423752388</c:v>
                </c:pt>
                <c:pt idx="66">
                  <c:v>23.971826873822202</c:v>
                </c:pt>
                <c:pt idx="67">
                  <c:v>24.36845346557196</c:v>
                </c:pt>
                <c:pt idx="68">
                  <c:v>24.747547271369456</c:v>
                </c:pt>
                <c:pt idx="69">
                  <c:v>25.10706991065782</c:v>
                </c:pt>
                <c:pt idx="70">
                  <c:v>25.444960247873698</c:v>
                </c:pt>
                <c:pt idx="71">
                  <c:v>25.763072060037679</c:v>
                </c:pt>
                <c:pt idx="72">
                  <c:v>26.056994576387183</c:v>
                </c:pt>
                <c:pt idx="73">
                  <c:v>26.326205397601896</c:v>
                </c:pt>
                <c:pt idx="74">
                  <c:v>26.567789758969113</c:v>
                </c:pt>
                <c:pt idx="75">
                  <c:v>26.784049487680566</c:v>
                </c:pt>
                <c:pt idx="76">
                  <c:v>26.974357835639914</c:v>
                </c:pt>
                <c:pt idx="77">
                  <c:v>27.137870359519624</c:v>
                </c:pt>
                <c:pt idx="78">
                  <c:v>27.273077415250761</c:v>
                </c:pt>
                <c:pt idx="79">
                  <c:v>27.378801739323322</c:v>
                </c:pt>
                <c:pt idx="80">
                  <c:v>27.455595985781915</c:v>
                </c:pt>
                <c:pt idx="81">
                  <c:v>27.503470898083414</c:v>
                </c:pt>
                <c:pt idx="82">
                  <c:v>27.522172524958201</c:v>
                </c:pt>
                <c:pt idx="83">
                  <c:v>27.511350251043172</c:v>
                </c:pt>
                <c:pt idx="84">
                  <c:v>27.471264191232081</c:v>
                </c:pt>
                <c:pt idx="85">
                  <c:v>27.402200933668151</c:v>
                </c:pt>
                <c:pt idx="86">
                  <c:v>27.304540831739743</c:v>
                </c:pt>
                <c:pt idx="87">
                  <c:v>27.178652934025465</c:v>
                </c:pt>
                <c:pt idx="88">
                  <c:v>27.025132666255658</c:v>
                </c:pt>
                <c:pt idx="89">
                  <c:v>26.844567116464727</c:v>
                </c:pt>
                <c:pt idx="90">
                  <c:v>26.637567680594309</c:v>
                </c:pt>
                <c:pt idx="91">
                  <c:v>26.404944178945382</c:v>
                </c:pt>
                <c:pt idx="92">
                  <c:v>26.147641362318243</c:v>
                </c:pt>
                <c:pt idx="93">
                  <c:v>25.866629171573251</c:v>
                </c:pt>
                <c:pt idx="94">
                  <c:v>25.562917327781321</c:v>
                </c:pt>
                <c:pt idx="95">
                  <c:v>25.2375903430474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1.042743976966246</c:v>
                </c:pt>
                <c:pt idx="43">
                  <c:v>11.679885156726897</c:v>
                </c:pt>
                <c:pt idx="44">
                  <c:v>12.319217613440493</c:v>
                </c:pt>
                <c:pt idx="45">
                  <c:v>12.952893653926052</c:v>
                </c:pt>
                <c:pt idx="46">
                  <c:v>13.605394045893551</c:v>
                </c:pt>
                <c:pt idx="47">
                  <c:v>14.287011898220687</c:v>
                </c:pt>
                <c:pt idx="48">
                  <c:v>14.983237944826556</c:v>
                </c:pt>
                <c:pt idx="49">
                  <c:v>15.691296443471067</c:v>
                </c:pt>
                <c:pt idx="50">
                  <c:v>16.383698722054749</c:v>
                </c:pt>
                <c:pt idx="51">
                  <c:v>17.093354495036095</c:v>
                </c:pt>
                <c:pt idx="52">
                  <c:v>17.815793161293811</c:v>
                </c:pt>
                <c:pt idx="53">
                  <c:v>18.560598633215598</c:v>
                </c:pt>
                <c:pt idx="54">
                  <c:v>19.297446477331214</c:v>
                </c:pt>
                <c:pt idx="55">
                  <c:v>20.039814517072386</c:v>
                </c:pt>
                <c:pt idx="56">
                  <c:v>20.801268491274357</c:v>
                </c:pt>
                <c:pt idx="57">
                  <c:v>21.56356084197671</c:v>
                </c:pt>
                <c:pt idx="58">
                  <c:v>22.329231281115849</c:v>
                </c:pt>
                <c:pt idx="59">
                  <c:v>23.093421452499697</c:v>
                </c:pt>
                <c:pt idx="60">
                  <c:v>23.864916313200712</c:v>
                </c:pt>
                <c:pt idx="61">
                  <c:v>24.63035461789611</c:v>
                </c:pt>
                <c:pt idx="62">
                  <c:v>25.38701469697191</c:v>
                </c:pt>
                <c:pt idx="63">
                  <c:v>26.139036993873191</c:v>
                </c:pt>
                <c:pt idx="64">
                  <c:v>26.887129571448902</c:v>
                </c:pt>
                <c:pt idx="65">
                  <c:v>27.619454102169929</c:v>
                </c:pt>
                <c:pt idx="66">
                  <c:v>28.334830655046776</c:v>
                </c:pt>
                <c:pt idx="67">
                  <c:v>29.034546061201098</c:v>
                </c:pt>
                <c:pt idx="68">
                  <c:v>29.717369611302413</c:v>
                </c:pt>
                <c:pt idx="69">
                  <c:v>30.379759126211702</c:v>
                </c:pt>
                <c:pt idx="70">
                  <c:v>31.018082226574318</c:v>
                </c:pt>
                <c:pt idx="71">
                  <c:v>31.632604978546322</c:v>
                </c:pt>
                <c:pt idx="72">
                  <c:v>32.217286080902007</c:v>
                </c:pt>
                <c:pt idx="73">
                  <c:v>32.770105442083448</c:v>
                </c:pt>
                <c:pt idx="74">
                  <c:v>33.286628864650389</c:v>
                </c:pt>
                <c:pt idx="75">
                  <c:v>33.76774224990578</c:v>
                </c:pt>
                <c:pt idx="76">
                  <c:v>34.211414731799138</c:v>
                </c:pt>
                <c:pt idx="77">
                  <c:v>34.615463160779285</c:v>
                </c:pt>
                <c:pt idx="78">
                  <c:v>34.977037081476439</c:v>
                </c:pt>
                <c:pt idx="79">
                  <c:v>35.293750764983855</c:v>
                </c:pt>
                <c:pt idx="80">
                  <c:v>35.565123829576834</c:v>
                </c:pt>
                <c:pt idx="81">
                  <c:v>35.790195012965086</c:v>
                </c:pt>
                <c:pt idx="82">
                  <c:v>35.96785527056872</c:v>
                </c:pt>
                <c:pt idx="83">
                  <c:v>36.097022168946118</c:v>
                </c:pt>
                <c:pt idx="84">
                  <c:v>36.177351501172112</c:v>
                </c:pt>
                <c:pt idx="85">
                  <c:v>36.208658996488111</c:v>
                </c:pt>
                <c:pt idx="86">
                  <c:v>36.190989372638214</c:v>
                </c:pt>
                <c:pt idx="87">
                  <c:v>36.124513046991062</c:v>
                </c:pt>
                <c:pt idx="88">
                  <c:v>36.009762812987731</c:v>
                </c:pt>
                <c:pt idx="89">
                  <c:v>35.847396640486338</c:v>
                </c:pt>
                <c:pt idx="90">
                  <c:v>35.638225834593797</c:v>
                </c:pt>
                <c:pt idx="91">
                  <c:v>35.383384437232799</c:v>
                </c:pt>
                <c:pt idx="92">
                  <c:v>35.084260468489688</c:v>
                </c:pt>
                <c:pt idx="93">
                  <c:v>34.742379245352225</c:v>
                </c:pt>
                <c:pt idx="94">
                  <c:v>34.359409440582453</c:v>
                </c:pt>
                <c:pt idx="95">
                  <c:v>33.9371891340527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6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9</c:v>
                </c:pt>
                <c:pt idx="5">
                  <c:v>12</c:v>
                </c:pt>
                <c:pt idx="6">
                  <c:v>10</c:v>
                </c:pt>
                <c:pt idx="7">
                  <c:v>10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8</c:v>
                </c:pt>
                <c:pt idx="12">
                  <c:v>17</c:v>
                </c:pt>
                <c:pt idx="13">
                  <c:v>16</c:v>
                </c:pt>
                <c:pt idx="14">
                  <c:v>17</c:v>
                </c:pt>
                <c:pt idx="15">
                  <c:v>17</c:v>
                </c:pt>
                <c:pt idx="16">
                  <c:v>21</c:v>
                </c:pt>
                <c:pt idx="17">
                  <c:v>24</c:v>
                </c:pt>
                <c:pt idx="18">
                  <c:v>28</c:v>
                </c:pt>
                <c:pt idx="19">
                  <c:v>27</c:v>
                </c:pt>
                <c:pt idx="20">
                  <c:v>26</c:v>
                </c:pt>
                <c:pt idx="21">
                  <c:v>24</c:v>
                </c:pt>
                <c:pt idx="22">
                  <c:v>27</c:v>
                </c:pt>
                <c:pt idx="23">
                  <c:v>27</c:v>
                </c:pt>
                <c:pt idx="24">
                  <c:v>32</c:v>
                </c:pt>
                <c:pt idx="25">
                  <c:v>36</c:v>
                </c:pt>
                <c:pt idx="26">
                  <c:v>37</c:v>
                </c:pt>
                <c:pt idx="27">
                  <c:v>38</c:v>
                </c:pt>
                <c:pt idx="28">
                  <c:v>48</c:v>
                </c:pt>
                <c:pt idx="29">
                  <c:v>54</c:v>
                </c:pt>
                <c:pt idx="30">
                  <c:v>55</c:v>
                </c:pt>
                <c:pt idx="31">
                  <c:v>58</c:v>
                </c:pt>
                <c:pt idx="32">
                  <c:v>66</c:v>
                </c:pt>
                <c:pt idx="33">
                  <c:v>71</c:v>
                </c:pt>
                <c:pt idx="34">
                  <c:v>68</c:v>
                </c:pt>
                <c:pt idx="35">
                  <c:v>71</c:v>
                </c:pt>
                <c:pt idx="36">
                  <c:v>76</c:v>
                </c:pt>
                <c:pt idx="37">
                  <c:v>80</c:v>
                </c:pt>
                <c:pt idx="38">
                  <c:v>80</c:v>
                </c:pt>
                <c:pt idx="39">
                  <c:v>87</c:v>
                </c:pt>
                <c:pt idx="40">
                  <c:v>92</c:v>
                </c:pt>
                <c:pt idx="41">
                  <c:v>99</c:v>
                </c:pt>
                <c:pt idx="42">
                  <c:v>97</c:v>
                </c:pt>
                <c:pt idx="43">
                  <c:v>103</c:v>
                </c:pt>
                <c:pt idx="44">
                  <c:v>111</c:v>
                </c:pt>
                <c:pt idx="45">
                  <c:v>116</c:v>
                </c:pt>
                <c:pt idx="46">
                  <c:v>1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96.471848048554264</c:v>
                </c:pt>
                <c:pt idx="43">
                  <c:v>101.49405220779859</c:v>
                </c:pt>
                <c:pt idx="44">
                  <c:v>106.36026118444988</c:v>
                </c:pt>
                <c:pt idx="45">
                  <c:v>110.97511750011721</c:v>
                </c:pt>
                <c:pt idx="46">
                  <c:v>115.54363509019137</c:v>
                </c:pt>
                <c:pt idx="47">
                  <c:v>120.13772859712918</c:v>
                </c:pt>
                <c:pt idx="48">
                  <c:v>124.63378617776993</c:v>
                </c:pt>
                <c:pt idx="49">
                  <c:v>128.98953437640276</c:v>
                </c:pt>
                <c:pt idx="50">
                  <c:v>132.95691722099298</c:v>
                </c:pt>
                <c:pt idx="51">
                  <c:v>136.83505568997731</c:v>
                </c:pt>
                <c:pt idx="52">
                  <c:v>140.58456222464173</c:v>
                </c:pt>
                <c:pt idx="53">
                  <c:v>144.28962652375608</c:v>
                </c:pt>
                <c:pt idx="54">
                  <c:v>147.68030937881821</c:v>
                </c:pt>
                <c:pt idx="55">
                  <c:v>150.89603685658511</c:v>
                </c:pt>
                <c:pt idx="56">
                  <c:v>154.06156549738523</c:v>
                </c:pt>
                <c:pt idx="57">
                  <c:v>157.02559943330715</c:v>
                </c:pt>
                <c:pt idx="58">
                  <c:v>159.82087224610808</c:v>
                </c:pt>
                <c:pt idx="59">
                  <c:v>162.43171104310892</c:v>
                </c:pt>
                <c:pt idx="60">
                  <c:v>164.95179703945951</c:v>
                </c:pt>
                <c:pt idx="61">
                  <c:v>167.27624368759842</c:v>
                </c:pt>
                <c:pt idx="62">
                  <c:v>169.40382253832391</c:v>
                </c:pt>
                <c:pt idx="63">
                  <c:v>171.38546499880584</c:v>
                </c:pt>
                <c:pt idx="64">
                  <c:v>173.25390024199589</c:v>
                </c:pt>
                <c:pt idx="65">
                  <c:v>174.92428324028958</c:v>
                </c:pt>
                <c:pt idx="66">
                  <c:v>176.40892816854856</c:v>
                </c:pt>
                <c:pt idx="67">
                  <c:v>177.73938936120388</c:v>
                </c:pt>
                <c:pt idx="68">
                  <c:v>178.92584053584238</c:v>
                </c:pt>
                <c:pt idx="69">
                  <c:v>179.95892383531995</c:v>
                </c:pt>
                <c:pt idx="70">
                  <c:v>180.83016666254517</c:v>
                </c:pt>
                <c:pt idx="71">
                  <c:v>181.56659044888121</c:v>
                </c:pt>
                <c:pt idx="72">
                  <c:v>182.13819307703483</c:v>
                </c:pt>
                <c:pt idx="73">
                  <c:v>182.54785202645996</c:v>
                </c:pt>
                <c:pt idx="74">
                  <c:v>182.77832209111926</c:v>
                </c:pt>
                <c:pt idx="75">
                  <c:v>182.85693171578689</c:v>
                </c:pt>
                <c:pt idx="76">
                  <c:v>182.78512743088825</c:v>
                </c:pt>
                <c:pt idx="77">
                  <c:v>182.56241368179593</c:v>
                </c:pt>
                <c:pt idx="78">
                  <c:v>182.18264758375153</c:v>
                </c:pt>
                <c:pt idx="79">
                  <c:v>181.64171129041472</c:v>
                </c:pt>
                <c:pt idx="80">
                  <c:v>180.94890360955776</c:v>
                </c:pt>
                <c:pt idx="81">
                  <c:v>180.10890821070313</c:v>
                </c:pt>
                <c:pt idx="82">
                  <c:v>179.12350255170645</c:v>
                </c:pt>
                <c:pt idx="83">
                  <c:v>177.99301382539022</c:v>
                </c:pt>
                <c:pt idx="84">
                  <c:v>176.72241975204128</c:v>
                </c:pt>
                <c:pt idx="85">
                  <c:v>175.31631117126983</c:v>
                </c:pt>
                <c:pt idx="86">
                  <c:v>173.77946000696798</c:v>
                </c:pt>
                <c:pt idx="87">
                  <c:v>172.11588907635655</c:v>
                </c:pt>
                <c:pt idx="88">
                  <c:v>170.33097960740747</c:v>
                </c:pt>
                <c:pt idx="89">
                  <c:v>168.42946748250048</c:v>
                </c:pt>
                <c:pt idx="90">
                  <c:v>166.41575131274848</c:v>
                </c:pt>
                <c:pt idx="91">
                  <c:v>164.29536069458311</c:v>
                </c:pt>
                <c:pt idx="92">
                  <c:v>162.0744607270527</c:v>
                </c:pt>
                <c:pt idx="93">
                  <c:v>159.75894806823686</c:v>
                </c:pt>
                <c:pt idx="94">
                  <c:v>157.35460917635686</c:v>
                </c:pt>
                <c:pt idx="95">
                  <c:v>154.867465867320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96.665555464340798</c:v>
                </c:pt>
                <c:pt idx="43">
                  <c:v>101.9589918511744</c:v>
                </c:pt>
                <c:pt idx="44">
                  <c:v>107.18320901299845</c:v>
                </c:pt>
                <c:pt idx="45">
                  <c:v>112.25112939309125</c:v>
                </c:pt>
                <c:pt idx="46">
                  <c:v>117.3731417095716</c:v>
                </c:pt>
                <c:pt idx="47">
                  <c:v>122.62970448618819</c:v>
                </c:pt>
                <c:pt idx="48">
                  <c:v>127.89870834860645</c:v>
                </c:pt>
                <c:pt idx="49">
                  <c:v>133.14162615407466</c:v>
                </c:pt>
                <c:pt idx="50">
                  <c:v>138.11008382705009</c:v>
                </c:pt>
                <c:pt idx="51">
                  <c:v>143.1037767180901</c:v>
                </c:pt>
                <c:pt idx="52">
                  <c:v>148.08214891836568</c:v>
                </c:pt>
                <c:pt idx="53">
                  <c:v>153.12597706879114</c:v>
                </c:pt>
                <c:pt idx="54">
                  <c:v>157.96251949946839</c:v>
                </c:pt>
                <c:pt idx="55">
                  <c:v>162.72579861116085</c:v>
                </c:pt>
                <c:pt idx="56">
                  <c:v>167.53606551401498</c:v>
                </c:pt>
                <c:pt idx="57">
                  <c:v>172.23571324470356</c:v>
                </c:pt>
                <c:pt idx="58">
                  <c:v>176.8502379647567</c:v>
                </c:pt>
                <c:pt idx="59">
                  <c:v>181.35287333752103</c:v>
                </c:pt>
                <c:pt idx="60">
                  <c:v>185.83073001156794</c:v>
                </c:pt>
                <c:pt idx="61">
                  <c:v>190.1678514318578</c:v>
                </c:pt>
                <c:pt idx="62">
                  <c:v>194.35472508831728</c:v>
                </c:pt>
                <c:pt idx="63">
                  <c:v>198.43438430076492</c:v>
                </c:pt>
                <c:pt idx="64">
                  <c:v>202.42932230334785</c:v>
                </c:pt>
                <c:pt idx="65">
                  <c:v>206.2445399709238</c:v>
                </c:pt>
                <c:pt idx="66">
                  <c:v>209.88301837917246</c:v>
                </c:pt>
                <c:pt idx="67">
                  <c:v>213.36807322033576</c:v>
                </c:pt>
                <c:pt idx="68">
                  <c:v>216.70058699319384</c:v>
                </c:pt>
                <c:pt idx="69">
                  <c:v>219.86201793399397</c:v>
                </c:pt>
                <c:pt idx="70">
                  <c:v>222.83443727431234</c:v>
                </c:pt>
                <c:pt idx="71">
                  <c:v>225.63560043600248</c:v>
                </c:pt>
                <c:pt idx="72">
                  <c:v>228.22603394738661</c:v>
                </c:pt>
                <c:pt idx="73">
                  <c:v>230.6004405039229</c:v>
                </c:pt>
                <c:pt idx="74">
                  <c:v>232.73331637376785</c:v>
                </c:pt>
                <c:pt idx="75">
                  <c:v>234.64468120889234</c:v>
                </c:pt>
                <c:pt idx="76">
                  <c:v>236.32872120725929</c:v>
                </c:pt>
                <c:pt idx="77">
                  <c:v>237.7781415109593</c:v>
                </c:pt>
                <c:pt idx="78">
                  <c:v>238.97983169486457</c:v>
                </c:pt>
                <c:pt idx="79">
                  <c:v>239.9236086906256</c:v>
                </c:pt>
                <c:pt idx="80">
                  <c:v>240.61391044551721</c:v>
                </c:pt>
                <c:pt idx="81">
                  <c:v>241.05074891091007</c:v>
                </c:pt>
                <c:pt idx="82">
                  <c:v>241.23184426878373</c:v>
                </c:pt>
                <c:pt idx="83">
                  <c:v>241.15409190804149</c:v>
                </c:pt>
                <c:pt idx="84">
                  <c:v>240.81966268641224</c:v>
                </c:pt>
                <c:pt idx="85">
                  <c:v>240.23098808510588</c:v>
                </c:pt>
                <c:pt idx="86">
                  <c:v>239.3913222630558</c:v>
                </c:pt>
                <c:pt idx="87">
                  <c:v>238.30381320585883</c:v>
                </c:pt>
                <c:pt idx="88">
                  <c:v>236.97359614542665</c:v>
                </c:pt>
                <c:pt idx="89">
                  <c:v>235.40577195360305</c:v>
                </c:pt>
                <c:pt idx="90">
                  <c:v>233.60568780440224</c:v>
                </c:pt>
                <c:pt idx="91">
                  <c:v>231.58038200619302</c:v>
                </c:pt>
                <c:pt idx="92">
                  <c:v>229.33806762515349</c:v>
                </c:pt>
                <c:pt idx="93">
                  <c:v>226.88719914206411</c:v>
                </c:pt>
                <c:pt idx="94">
                  <c:v>224.23659338441075</c:v>
                </c:pt>
                <c:pt idx="95">
                  <c:v>221.395722404214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96.860361702830872</c:v>
                </c:pt>
                <c:pt idx="43">
                  <c:v>102.42792690426396</c:v>
                </c:pt>
                <c:pt idx="44">
                  <c:v>108.01610889055002</c:v>
                </c:pt>
                <c:pt idx="45">
                  <c:v>113.54766326263757</c:v>
                </c:pt>
                <c:pt idx="46">
                  <c:v>119.24014679991171</c:v>
                </c:pt>
                <c:pt idx="47">
                  <c:v>125.18457609151073</c:v>
                </c:pt>
                <c:pt idx="48">
                  <c:v>131.26250677416732</c:v>
                </c:pt>
                <c:pt idx="49">
                  <c:v>137.44145564603571</c:v>
                </c:pt>
                <c:pt idx="50">
                  <c:v>143.47509018688254</c:v>
                </c:pt>
                <c:pt idx="51">
                  <c:v>149.66606994859904</c:v>
                </c:pt>
                <c:pt idx="52">
                  <c:v>155.97502870004911</c:v>
                </c:pt>
                <c:pt idx="53">
                  <c:v>162.48158417085932</c:v>
                </c:pt>
                <c:pt idx="54">
                  <c:v>168.91229176226858</c:v>
                </c:pt>
                <c:pt idx="55">
                  <c:v>175.39764953014367</c:v>
                </c:pt>
                <c:pt idx="56">
                  <c:v>182.05504452343791</c:v>
                </c:pt>
                <c:pt idx="57">
                  <c:v>188.72189260187338</c:v>
                </c:pt>
                <c:pt idx="58">
                  <c:v>195.41744905659374</c:v>
                </c:pt>
                <c:pt idx="59">
                  <c:v>202.10445518373143</c:v>
                </c:pt>
                <c:pt idx="60">
                  <c:v>208.86362607229842</c:v>
                </c:pt>
                <c:pt idx="61">
                  <c:v>215.56762888769782</c:v>
                </c:pt>
                <c:pt idx="62">
                  <c:v>222.1978701312234</c:v>
                </c:pt>
                <c:pt idx="63">
                  <c:v>228.7881917113441</c:v>
                </c:pt>
                <c:pt idx="64">
                  <c:v>235.34904990658953</c:v>
                </c:pt>
                <c:pt idx="65">
                  <c:v>241.77302609202462</c:v>
                </c:pt>
                <c:pt idx="66">
                  <c:v>248.05105571903448</c:v>
                </c:pt>
                <c:pt idx="67">
                  <c:v>254.19504258619003</c:v>
                </c:pt>
                <c:pt idx="68">
                  <c:v>260.19297706577163</c:v>
                </c:pt>
                <c:pt idx="69">
                  <c:v>266.01314528536665</c:v>
                </c:pt>
                <c:pt idx="70">
                  <c:v>271.62383245979834</c:v>
                </c:pt>
                <c:pt idx="71">
                  <c:v>277.02890625262887</c:v>
                </c:pt>
                <c:pt idx="72">
                  <c:v>282.17457890281469</c:v>
                </c:pt>
                <c:pt idx="73">
                  <c:v>287.04237984850056</c:v>
                </c:pt>
                <c:pt idx="74">
                  <c:v>291.59344823909646</c:v>
                </c:pt>
                <c:pt idx="75">
                  <c:v>295.8353634528969</c:v>
                </c:pt>
                <c:pt idx="76">
                  <c:v>299.74995577713349</c:v>
                </c:pt>
                <c:pt idx="77">
                  <c:v>303.31813986528834</c:v>
                </c:pt>
                <c:pt idx="78">
                  <c:v>306.51501659775749</c:v>
                </c:pt>
                <c:pt idx="79">
                  <c:v>309.31975428649775</c:v>
                </c:pt>
                <c:pt idx="80">
                  <c:v>311.72764965431429</c:v>
                </c:pt>
                <c:pt idx="81">
                  <c:v>313.73011972912462</c:v>
                </c:pt>
                <c:pt idx="82">
                  <c:v>315.3173109207836</c:v>
                </c:pt>
                <c:pt idx="83">
                  <c:v>316.47962264145212</c:v>
                </c:pt>
                <c:pt idx="84">
                  <c:v>317.21384525033682</c:v>
                </c:pt>
                <c:pt idx="85">
                  <c:v>317.51819777543648</c:v>
                </c:pt>
                <c:pt idx="86">
                  <c:v>317.39290669460559</c:v>
                </c:pt>
                <c:pt idx="87">
                  <c:v>316.83929343480025</c:v>
                </c:pt>
                <c:pt idx="88">
                  <c:v>315.86185979209421</c:v>
                </c:pt>
                <c:pt idx="89">
                  <c:v>314.466245520435</c:v>
                </c:pt>
                <c:pt idx="90">
                  <c:v>312.65947098178469</c:v>
                </c:pt>
                <c:pt idx="91">
                  <c:v>310.45134143408927</c:v>
                </c:pt>
                <c:pt idx="92">
                  <c:v>307.85388492029114</c:v>
                </c:pt>
                <c:pt idx="93">
                  <c:v>304.88035861346998</c:v>
                </c:pt>
                <c:pt idx="94">
                  <c:v>301.54529570805863</c:v>
                </c:pt>
                <c:pt idx="95">
                  <c:v>297.864720235291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</c:v>
                </c:pt>
                <c:pt idx="1">
                  <c:v>1</c:v>
                </c:pt>
                <c:pt idx="2">
                  <c:v>3</c:v>
                </c:pt>
                <c:pt idx="3">
                  <c:v>3</c:v>
                </c:pt>
                <c:pt idx="4">
                  <c:v>2</c:v>
                </c:pt>
                <c:pt idx="5">
                  <c:v>3</c:v>
                </c:pt>
                <c:pt idx="6">
                  <c:v>3</c:v>
                </c:pt>
                <c:pt idx="7">
                  <c:v>4</c:v>
                </c:pt>
                <c:pt idx="8">
                  <c:v>4</c:v>
                </c:pt>
                <c:pt idx="9">
                  <c:v>3</c:v>
                </c:pt>
                <c:pt idx="10">
                  <c:v>3</c:v>
                </c:pt>
                <c:pt idx="11">
                  <c:v>7</c:v>
                </c:pt>
                <c:pt idx="12">
                  <c:v>8</c:v>
                </c:pt>
                <c:pt idx="13">
                  <c:v>8</c:v>
                </c:pt>
                <c:pt idx="14">
                  <c:v>8</c:v>
                </c:pt>
                <c:pt idx="15">
                  <c:v>6</c:v>
                </c:pt>
                <c:pt idx="16">
                  <c:v>6</c:v>
                </c:pt>
                <c:pt idx="17">
                  <c:v>8</c:v>
                </c:pt>
                <c:pt idx="18">
                  <c:v>10</c:v>
                </c:pt>
                <c:pt idx="19">
                  <c:v>10</c:v>
                </c:pt>
                <c:pt idx="20">
                  <c:v>10</c:v>
                </c:pt>
                <c:pt idx="21">
                  <c:v>10</c:v>
                </c:pt>
                <c:pt idx="22">
                  <c:v>10</c:v>
                </c:pt>
                <c:pt idx="23">
                  <c:v>11</c:v>
                </c:pt>
                <c:pt idx="24">
                  <c:v>10</c:v>
                </c:pt>
                <c:pt idx="25">
                  <c:v>11</c:v>
                </c:pt>
                <c:pt idx="26">
                  <c:v>10</c:v>
                </c:pt>
                <c:pt idx="27">
                  <c:v>12</c:v>
                </c:pt>
                <c:pt idx="28">
                  <c:v>12</c:v>
                </c:pt>
                <c:pt idx="29">
                  <c:v>12</c:v>
                </c:pt>
                <c:pt idx="30">
                  <c:v>13</c:v>
                </c:pt>
                <c:pt idx="31">
                  <c:v>16</c:v>
                </c:pt>
                <c:pt idx="32">
                  <c:v>21</c:v>
                </c:pt>
                <c:pt idx="33">
                  <c:v>22</c:v>
                </c:pt>
                <c:pt idx="34">
                  <c:v>25</c:v>
                </c:pt>
                <c:pt idx="35">
                  <c:v>31</c:v>
                </c:pt>
                <c:pt idx="36">
                  <c:v>35</c:v>
                </c:pt>
                <c:pt idx="37">
                  <c:v>36</c:v>
                </c:pt>
                <c:pt idx="38">
                  <c:v>42</c:v>
                </c:pt>
                <c:pt idx="39">
                  <c:v>40</c:v>
                </c:pt>
                <c:pt idx="40">
                  <c:v>44</c:v>
                </c:pt>
                <c:pt idx="41">
                  <c:v>45</c:v>
                </c:pt>
                <c:pt idx="42">
                  <c:v>42</c:v>
                </c:pt>
                <c:pt idx="43">
                  <c:v>43</c:v>
                </c:pt>
                <c:pt idx="44">
                  <c:v>45</c:v>
                </c:pt>
                <c:pt idx="45">
                  <c:v>50</c:v>
                </c:pt>
                <c:pt idx="46">
                  <c:v>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46.149729076376758</c:v>
                </c:pt>
                <c:pt idx="43">
                  <c:v>48.547119486803865</c:v>
                </c:pt>
                <c:pt idx="44">
                  <c:v>50.870595125748849</c:v>
                </c:pt>
                <c:pt idx="45">
                  <c:v>53.072021833466181</c:v>
                </c:pt>
                <c:pt idx="46">
                  <c:v>55.250326494939586</c:v>
                </c:pt>
                <c:pt idx="47">
                  <c:v>57.440162571180522</c:v>
                </c:pt>
                <c:pt idx="48">
                  <c:v>59.584976768276988</c:v>
                </c:pt>
                <c:pt idx="49">
                  <c:v>61.662081253381103</c:v>
                </c:pt>
                <c:pt idx="50">
                  <c:v>63.551235906399036</c:v>
                </c:pt>
                <c:pt idx="51">
                  <c:v>65.399583283237462</c:v>
                </c:pt>
                <c:pt idx="52">
                  <c:v>67.188225464271099</c:v>
                </c:pt>
                <c:pt idx="53">
                  <c:v>68.956058186985715</c:v>
                </c:pt>
                <c:pt idx="54">
                  <c:v>70.571735040647496</c:v>
                </c:pt>
                <c:pt idx="55">
                  <c:v>72.10551794328029</c:v>
                </c:pt>
                <c:pt idx="56">
                  <c:v>73.616577401173174</c:v>
                </c:pt>
                <c:pt idx="57">
                  <c:v>75.031790937969149</c:v>
                </c:pt>
                <c:pt idx="58">
                  <c:v>76.365844919033236</c:v>
                </c:pt>
                <c:pt idx="59">
                  <c:v>77.612756777002048</c:v>
                </c:pt>
                <c:pt idx="60">
                  <c:v>78.818362432454791</c:v>
                </c:pt>
                <c:pt idx="61">
                  <c:v>79.92947347601384</c:v>
                </c:pt>
                <c:pt idx="62">
                  <c:v>80.947038381063209</c:v>
                </c:pt>
                <c:pt idx="63">
                  <c:v>81.894692630040623</c:v>
                </c:pt>
                <c:pt idx="64">
                  <c:v>82.789268456262548</c:v>
                </c:pt>
                <c:pt idx="65">
                  <c:v>83.589124201909272</c:v>
                </c:pt>
                <c:pt idx="66">
                  <c:v>84.300499512535026</c:v>
                </c:pt>
                <c:pt idx="67">
                  <c:v>84.938674393529723</c:v>
                </c:pt>
                <c:pt idx="68">
                  <c:v>85.508144656237505</c:v>
                </c:pt>
                <c:pt idx="69">
                  <c:v>86.004237148916999</c:v>
                </c:pt>
                <c:pt idx="70">
                  <c:v>86.422950464064172</c:v>
                </c:pt>
                <c:pt idx="71">
                  <c:v>86.777650037550046</c:v>
                </c:pt>
                <c:pt idx="72">
                  <c:v>87.053756842212792</c:v>
                </c:pt>
                <c:pt idx="73">
                  <c:v>87.252447090414591</c:v>
                </c:pt>
                <c:pt idx="74">
                  <c:v>87.365499804358691</c:v>
                </c:pt>
                <c:pt idx="75">
                  <c:v>87.40594286184114</c:v>
                </c:pt>
                <c:pt idx="76">
                  <c:v>87.374383946540178</c:v>
                </c:pt>
                <c:pt idx="77">
                  <c:v>87.270630637710696</c:v>
                </c:pt>
                <c:pt idx="78">
                  <c:v>87.091787369251804</c:v>
                </c:pt>
                <c:pt idx="79">
                  <c:v>86.835935755601014</c:v>
                </c:pt>
                <c:pt idx="80">
                  <c:v>86.507418616399207</c:v>
                </c:pt>
                <c:pt idx="81">
                  <c:v>86.108464302833283</c:v>
                </c:pt>
                <c:pt idx="82">
                  <c:v>85.639920163843584</c:v>
                </c:pt>
                <c:pt idx="83">
                  <c:v>85.101946850185868</c:v>
                </c:pt>
                <c:pt idx="84">
                  <c:v>84.496905455405482</c:v>
                </c:pt>
                <c:pt idx="85">
                  <c:v>83.826980680637007</c:v>
                </c:pt>
                <c:pt idx="86">
                  <c:v>83.094443905519725</c:v>
                </c:pt>
                <c:pt idx="87">
                  <c:v>82.301206007519937</c:v>
                </c:pt>
                <c:pt idx="88">
                  <c:v>81.449828021441846</c:v>
                </c:pt>
                <c:pt idx="89">
                  <c:v>80.54257358362625</c:v>
                </c:pt>
                <c:pt idx="90">
                  <c:v>79.581554385534389</c:v>
                </c:pt>
                <c:pt idx="91">
                  <c:v>78.569407853503719</c:v>
                </c:pt>
                <c:pt idx="92">
                  <c:v>77.509072245479757</c:v>
                </c:pt>
                <c:pt idx="93">
                  <c:v>76.403362921499564</c:v>
                </c:pt>
                <c:pt idx="94">
                  <c:v>75.255045827143149</c:v>
                </c:pt>
                <c:pt idx="95">
                  <c:v>74.0669983088265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46.241955723204491</c:v>
                </c:pt>
                <c:pt idx="43">
                  <c:v>48.768486444012645</c:v>
                </c:pt>
                <c:pt idx="44">
                  <c:v>51.262470730245994</c:v>
                </c:pt>
                <c:pt idx="45">
                  <c:v>53.679741225911464</c:v>
                </c:pt>
                <c:pt idx="46">
                  <c:v>56.121791563392797</c:v>
                </c:pt>
                <c:pt idx="47">
                  <c:v>58.62734701465213</c:v>
                </c:pt>
                <c:pt idx="48">
                  <c:v>61.140601533770756</c:v>
                </c:pt>
                <c:pt idx="49">
                  <c:v>63.640679436661941</c:v>
                </c:pt>
                <c:pt idx="50">
                  <c:v>66.007200019366309</c:v>
                </c:pt>
                <c:pt idx="51">
                  <c:v>68.387642620255178</c:v>
                </c:pt>
                <c:pt idx="52">
                  <c:v>70.762555801657754</c:v>
                </c:pt>
                <c:pt idx="53">
                  <c:v>73.169227585835358</c:v>
                </c:pt>
                <c:pt idx="54">
                  <c:v>75.474965831897975</c:v>
                </c:pt>
                <c:pt idx="55">
                  <c:v>77.747495566215633</c:v>
                </c:pt>
                <c:pt idx="56">
                  <c:v>80.043845339901367</c:v>
                </c:pt>
                <c:pt idx="57">
                  <c:v>82.287868149344249</c:v>
                </c:pt>
                <c:pt idx="58">
                  <c:v>84.490820868439187</c:v>
                </c:pt>
                <c:pt idx="59">
                  <c:v>86.64145290754719</c:v>
                </c:pt>
                <c:pt idx="60">
                  <c:v>88.78248850814532</c:v>
                </c:pt>
                <c:pt idx="61">
                  <c:v>90.855434777591285</c:v>
                </c:pt>
                <c:pt idx="62">
                  <c:v>92.857293051937006</c:v>
                </c:pt>
                <c:pt idx="63">
                  <c:v>94.807911330747359</c:v>
                </c:pt>
                <c:pt idx="64">
                  <c:v>96.719266662954155</c:v>
                </c:pt>
                <c:pt idx="65">
                  <c:v>98.544849024466927</c:v>
                </c:pt>
                <c:pt idx="66">
                  <c:v>100.28644661142079</c:v>
                </c:pt>
                <c:pt idx="67">
                  <c:v>101.95539371290801</c:v>
                </c:pt>
                <c:pt idx="68">
                  <c:v>103.55174220254213</c:v>
                </c:pt>
                <c:pt idx="69">
                  <c:v>105.06642468556214</c:v>
                </c:pt>
                <c:pt idx="70">
                  <c:v>106.49090949580535</c:v>
                </c:pt>
                <c:pt idx="71">
                  <c:v>107.83413641962355</c:v>
                </c:pt>
                <c:pt idx="72">
                  <c:v>109.07698848314101</c:v>
                </c:pt>
                <c:pt idx="73">
                  <c:v>110.21671822718157</c:v>
                </c:pt>
                <c:pt idx="74">
                  <c:v>111.24114428732165</c:v>
                </c:pt>
                <c:pt idx="75">
                  <c:v>112.15979247352929</c:v>
                </c:pt>
                <c:pt idx="76">
                  <c:v>112.96978725788506</c:v>
                </c:pt>
                <c:pt idx="77">
                  <c:v>113.66767247965142</c:v>
                </c:pt>
                <c:pt idx="78">
                  <c:v>114.2472157310911</c:v>
                </c:pt>
                <c:pt idx="79">
                  <c:v>114.70358850749531</c:v>
                </c:pt>
                <c:pt idx="80">
                  <c:v>115.03879153804999</c:v>
                </c:pt>
                <c:pt idx="81">
                  <c:v>115.25280598477133</c:v>
                </c:pt>
                <c:pt idx="82">
                  <c:v>115.34452565015422</c:v>
                </c:pt>
                <c:pt idx="83">
                  <c:v>115.31245667323323</c:v>
                </c:pt>
                <c:pt idx="84">
                  <c:v>115.15760447906243</c:v>
                </c:pt>
                <c:pt idx="85">
                  <c:v>114.88110764598659</c:v>
                </c:pt>
                <c:pt idx="86">
                  <c:v>114.48449836054304</c:v>
                </c:pt>
                <c:pt idx="87">
                  <c:v>113.96925592635048</c:v>
                </c:pt>
                <c:pt idx="88">
                  <c:v>113.33781075590628</c:v>
                </c:pt>
                <c:pt idx="89">
                  <c:v>112.59258839571331</c:v>
                </c:pt>
                <c:pt idx="90">
                  <c:v>111.73614208888776</c:v>
                </c:pt>
                <c:pt idx="91">
                  <c:v>110.7718193399819</c:v>
                </c:pt>
                <c:pt idx="92">
                  <c:v>109.70352700001837</c:v>
                </c:pt>
                <c:pt idx="93">
                  <c:v>108.53529351095256</c:v>
                </c:pt>
                <c:pt idx="94">
                  <c:v>107.27132465341529</c:v>
                </c:pt>
                <c:pt idx="95">
                  <c:v>105.9161394071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46.33470558540786</c:v>
                </c:pt>
                <c:pt idx="43">
                  <c:v>48.99175573414162</c:v>
                </c:pt>
                <c:pt idx="44">
                  <c:v>51.659084908966193</c:v>
                </c:pt>
                <c:pt idx="45">
                  <c:v>54.297232568215605</c:v>
                </c:pt>
                <c:pt idx="46">
                  <c:v>57.011113843492801</c:v>
                </c:pt>
                <c:pt idx="47">
                  <c:v>59.844486295830968</c:v>
                </c:pt>
                <c:pt idx="48">
                  <c:v>62.743322903519996</c:v>
                </c:pt>
                <c:pt idx="49">
                  <c:v>65.689656849947966</c:v>
                </c:pt>
                <c:pt idx="50">
                  <c:v>68.564093787884488</c:v>
                </c:pt>
                <c:pt idx="51">
                  <c:v>71.51559219702412</c:v>
                </c:pt>
                <c:pt idx="52">
                  <c:v>74.525275015937254</c:v>
                </c:pt>
                <c:pt idx="53">
                  <c:v>77.629901698455853</c:v>
                </c:pt>
                <c:pt idx="54">
                  <c:v>80.696440396247908</c:v>
                </c:pt>
                <c:pt idx="55">
                  <c:v>83.790981129768866</c:v>
                </c:pt>
                <c:pt idx="56">
                  <c:v>86.969199352802093</c:v>
                </c:pt>
                <c:pt idx="57">
                  <c:v>90.152566096935843</c:v>
                </c:pt>
                <c:pt idx="58">
                  <c:v>93.34939075008802</c:v>
                </c:pt>
                <c:pt idx="59">
                  <c:v>96.543448319882216</c:v>
                </c:pt>
                <c:pt idx="60">
                  <c:v>99.7744419863389</c:v>
                </c:pt>
                <c:pt idx="61">
                  <c:v>102.97843527752829</c:v>
                </c:pt>
                <c:pt idx="62">
                  <c:v>106.14810916149557</c:v>
                </c:pt>
                <c:pt idx="63">
                  <c:v>109.29891369211111</c:v>
                </c:pt>
                <c:pt idx="64">
                  <c:v>112.43711776050762</c:v>
                </c:pt>
                <c:pt idx="65">
                  <c:v>115.51026764035709</c:v>
                </c:pt>
                <c:pt idx="66">
                  <c:v>118.51441065938798</c:v>
                </c:pt>
                <c:pt idx="67">
                  <c:v>121.45542516121796</c:v>
                </c:pt>
                <c:pt idx="68">
                  <c:v>124.32720369352951</c:v>
                </c:pt>
                <c:pt idx="69">
                  <c:v>127.11438323802827</c:v>
                </c:pt>
                <c:pt idx="70">
                  <c:v>129.8018361718311</c:v>
                </c:pt>
                <c:pt idx="71">
                  <c:v>132.39187039674005</c:v>
                </c:pt>
                <c:pt idx="72">
                  <c:v>134.85851781393254</c:v>
                </c:pt>
                <c:pt idx="73">
                  <c:v>137.19271846472103</c:v>
                </c:pt>
                <c:pt idx="74">
                  <c:v>139.3758925712624</c:v>
                </c:pt>
                <c:pt idx="75">
                  <c:v>141.41160878694632</c:v>
                </c:pt>
                <c:pt idx="76">
                  <c:v>143.29106905123362</c:v>
                </c:pt>
                <c:pt idx="77">
                  <c:v>145.00516266349666</c:v>
                </c:pt>
                <c:pt idx="78">
                  <c:v>146.5420095799291</c:v>
                </c:pt>
                <c:pt idx="79">
                  <c:v>147.8916728302757</c:v>
                </c:pt>
                <c:pt idx="80">
                  <c:v>149.05175640375955</c:v>
                </c:pt>
                <c:pt idx="81">
                  <c:v>150.01810933154383</c:v>
                </c:pt>
                <c:pt idx="82">
                  <c:v>150.78598047577179</c:v>
                </c:pt>
                <c:pt idx="83">
                  <c:v>151.35074557092531</c:v>
                </c:pt>
                <c:pt idx="84">
                  <c:v>151.71081239600306</c:v>
                </c:pt>
                <c:pt idx="85">
                  <c:v>151.8652798570763</c:v>
                </c:pt>
                <c:pt idx="86">
                  <c:v>151.81420682754987</c:v>
                </c:pt>
                <c:pt idx="87">
                  <c:v>151.55817369539949</c:v>
                </c:pt>
                <c:pt idx="88">
                  <c:v>151.09928277295796</c:v>
                </c:pt>
                <c:pt idx="89">
                  <c:v>150.44019266525538</c:v>
                </c:pt>
                <c:pt idx="90">
                  <c:v>149.58423304976361</c:v>
                </c:pt>
                <c:pt idx="91">
                  <c:v>148.53605208854484</c:v>
                </c:pt>
                <c:pt idx="92">
                  <c:v>147.30135976833128</c:v>
                </c:pt>
                <c:pt idx="93">
                  <c:v>145.88646146377496</c:v>
                </c:pt>
                <c:pt idx="94">
                  <c:v>144.29827850241378</c:v>
                </c:pt>
                <c:pt idx="95">
                  <c:v>142.544446839320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2</c:v>
                </c:pt>
                <c:pt idx="7">
                  <c:v>3</c:v>
                </c:pt>
                <c:pt idx="8">
                  <c:v>4</c:v>
                </c:pt>
                <c:pt idx="9">
                  <c:v>3</c:v>
                </c:pt>
                <c:pt idx="10">
                  <c:v>5</c:v>
                </c:pt>
                <c:pt idx="11">
                  <c:v>4</c:v>
                </c:pt>
                <c:pt idx="12">
                  <c:v>6</c:v>
                </c:pt>
                <c:pt idx="13">
                  <c:v>6</c:v>
                </c:pt>
                <c:pt idx="14">
                  <c:v>6</c:v>
                </c:pt>
                <c:pt idx="15">
                  <c:v>6</c:v>
                </c:pt>
                <c:pt idx="16">
                  <c:v>7</c:v>
                </c:pt>
                <c:pt idx="17">
                  <c:v>8</c:v>
                </c:pt>
                <c:pt idx="18">
                  <c:v>8</c:v>
                </c:pt>
                <c:pt idx="19">
                  <c:v>7</c:v>
                </c:pt>
                <c:pt idx="20">
                  <c:v>8</c:v>
                </c:pt>
                <c:pt idx="21">
                  <c:v>8</c:v>
                </c:pt>
                <c:pt idx="22">
                  <c:v>9</c:v>
                </c:pt>
                <c:pt idx="23">
                  <c:v>12</c:v>
                </c:pt>
                <c:pt idx="24">
                  <c:v>12</c:v>
                </c:pt>
                <c:pt idx="25">
                  <c:v>15</c:v>
                </c:pt>
                <c:pt idx="26">
                  <c:v>19</c:v>
                </c:pt>
                <c:pt idx="27">
                  <c:v>19</c:v>
                </c:pt>
                <c:pt idx="28">
                  <c:v>19</c:v>
                </c:pt>
                <c:pt idx="29">
                  <c:v>22</c:v>
                </c:pt>
                <c:pt idx="30">
                  <c:v>24</c:v>
                </c:pt>
                <c:pt idx="31">
                  <c:v>25</c:v>
                </c:pt>
                <c:pt idx="32">
                  <c:v>23</c:v>
                </c:pt>
                <c:pt idx="33">
                  <c:v>21</c:v>
                </c:pt>
                <c:pt idx="34">
                  <c:v>24</c:v>
                </c:pt>
                <c:pt idx="35">
                  <c:v>30</c:v>
                </c:pt>
                <c:pt idx="36">
                  <c:v>29</c:v>
                </c:pt>
                <c:pt idx="37">
                  <c:v>36</c:v>
                </c:pt>
                <c:pt idx="38">
                  <c:v>36</c:v>
                </c:pt>
                <c:pt idx="39">
                  <c:v>39</c:v>
                </c:pt>
                <c:pt idx="40">
                  <c:v>40</c:v>
                </c:pt>
                <c:pt idx="41">
                  <c:v>39</c:v>
                </c:pt>
                <c:pt idx="42">
                  <c:v>42</c:v>
                </c:pt>
                <c:pt idx="43">
                  <c:v>41</c:v>
                </c:pt>
                <c:pt idx="44">
                  <c:v>41</c:v>
                </c:pt>
                <c:pt idx="45">
                  <c:v>48</c:v>
                </c:pt>
                <c:pt idx="46">
                  <c:v>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42.649809314724607</c:v>
                </c:pt>
                <c:pt idx="43">
                  <c:v>44.863613375677232</c:v>
                </c:pt>
                <c:pt idx="44">
                  <c:v>47.00935442598923</c:v>
                </c:pt>
                <c:pt idx="45">
                  <c:v>49.041675104943806</c:v>
                </c:pt>
                <c:pt idx="46">
                  <c:v>51.052295961540096</c:v>
                </c:pt>
                <c:pt idx="47">
                  <c:v>53.073329595678175</c:v>
                </c:pt>
                <c:pt idx="48">
                  <c:v>55.05340675949887</c:v>
                </c:pt>
                <c:pt idx="49">
                  <c:v>56.970704743974153</c:v>
                </c:pt>
                <c:pt idx="50">
                  <c:v>58.71355523489386</c:v>
                </c:pt>
                <c:pt idx="51">
                  <c:v>60.419347333624543</c:v>
                </c:pt>
                <c:pt idx="52">
                  <c:v>62.070596912174409</c:v>
                </c:pt>
                <c:pt idx="53">
                  <c:v>63.702771552679515</c:v>
                </c:pt>
                <c:pt idx="54">
                  <c:v>65.193717573776524</c:v>
                </c:pt>
                <c:pt idx="55">
                  <c:v>66.609605093264278</c:v>
                </c:pt>
                <c:pt idx="56">
                  <c:v>68.004940275035111</c:v>
                </c:pt>
                <c:pt idx="57">
                  <c:v>69.311887153367437</c:v>
                </c:pt>
                <c:pt idx="58">
                  <c:v>70.543680809036232</c:v>
                </c:pt>
                <c:pt idx="59">
                  <c:v>71.695318094820223</c:v>
                </c:pt>
                <c:pt idx="60">
                  <c:v>72.809513168531396</c:v>
                </c:pt>
                <c:pt idx="61">
                  <c:v>73.836065682540209</c:v>
                </c:pt>
                <c:pt idx="62">
                  <c:v>74.776385240970313</c:v>
                </c:pt>
                <c:pt idx="63">
                  <c:v>75.652061933552886</c:v>
                </c:pt>
                <c:pt idx="64">
                  <c:v>76.479059350506105</c:v>
                </c:pt>
                <c:pt idx="65">
                  <c:v>77.218528146278885</c:v>
                </c:pt>
                <c:pt idx="66">
                  <c:v>77.876355818540148</c:v>
                </c:pt>
                <c:pt idx="67">
                  <c:v>78.466727828573568</c:v>
                </c:pt>
                <c:pt idx="68">
                  <c:v>78.993670275657223</c:v>
                </c:pt>
                <c:pt idx="69">
                  <c:v>79.452796193897086</c:v>
                </c:pt>
                <c:pt idx="70">
                  <c:v>79.840425566904088</c:v>
                </c:pt>
                <c:pt idx="71">
                  <c:v>80.169062576969068</c:v>
                </c:pt>
                <c:pt idx="72">
                  <c:v>80.425155156733155</c:v>
                </c:pt>
                <c:pt idx="73">
                  <c:v>80.60972080866442</c:v>
                </c:pt>
                <c:pt idx="74">
                  <c:v>80.715171979499274</c:v>
                </c:pt>
                <c:pt idx="75">
                  <c:v>80.753532790259811</c:v>
                </c:pt>
                <c:pt idx="76">
                  <c:v>80.725335585357868</c:v>
                </c:pt>
                <c:pt idx="77">
                  <c:v>80.630418027763895</c:v>
                </c:pt>
                <c:pt idx="78">
                  <c:v>80.46611908083662</c:v>
                </c:pt>
                <c:pt idx="79">
                  <c:v>80.230683713884474</c:v>
                </c:pt>
                <c:pt idx="80">
                  <c:v>79.928088784694566</c:v>
                </c:pt>
                <c:pt idx="81">
                  <c:v>79.560389416492285</c:v>
                </c:pt>
                <c:pt idx="82">
                  <c:v>79.128367675529262</c:v>
                </c:pt>
                <c:pt idx="83">
                  <c:v>78.632173462195382</c:v>
                </c:pt>
                <c:pt idx="84">
                  <c:v>78.073981825293117</c:v>
                </c:pt>
                <c:pt idx="85">
                  <c:v>77.455807811195882</c:v>
                </c:pt>
                <c:pt idx="86">
                  <c:v>76.779746589373204</c:v>
                </c:pt>
                <c:pt idx="87">
                  <c:v>76.047559421556826</c:v>
                </c:pt>
                <c:pt idx="88">
                  <c:v>75.261608533587818</c:v>
                </c:pt>
                <c:pt idx="89">
                  <c:v>74.423985234848303</c:v>
                </c:pt>
                <c:pt idx="90">
                  <c:v>73.536643674094577</c:v>
                </c:pt>
                <c:pt idx="91">
                  <c:v>72.602018554642441</c:v>
                </c:pt>
                <c:pt idx="92">
                  <c:v>71.622821494368011</c:v>
                </c:pt>
                <c:pt idx="93">
                  <c:v>70.601652448293265</c:v>
                </c:pt>
                <c:pt idx="94">
                  <c:v>69.541066850480888</c:v>
                </c:pt>
                <c:pt idx="95">
                  <c:v>68.4437226749737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42.734889597213034</c:v>
                </c:pt>
                <c:pt idx="43">
                  <c:v>45.067828350352102</c:v>
                </c:pt>
                <c:pt idx="44">
                  <c:v>47.370885458234497</c:v>
                </c:pt>
                <c:pt idx="45">
                  <c:v>49.602371573823419</c:v>
                </c:pt>
                <c:pt idx="46">
                  <c:v>51.856377803610798</c:v>
                </c:pt>
                <c:pt idx="47">
                  <c:v>54.168774425693684</c:v>
                </c:pt>
                <c:pt idx="48">
                  <c:v>56.488892661579484</c:v>
                </c:pt>
                <c:pt idx="49">
                  <c:v>58.796591462982548</c:v>
                </c:pt>
                <c:pt idx="50">
                  <c:v>60.980076615011036</c:v>
                </c:pt>
                <c:pt idx="51">
                  <c:v>63.177069981357747</c:v>
                </c:pt>
                <c:pt idx="52">
                  <c:v>65.369577764834546</c:v>
                </c:pt>
                <c:pt idx="53">
                  <c:v>67.59159043652123</c:v>
                </c:pt>
                <c:pt idx="54">
                  <c:v>69.719708872245079</c:v>
                </c:pt>
                <c:pt idx="55">
                  <c:v>71.817775378964853</c:v>
                </c:pt>
                <c:pt idx="56">
                  <c:v>73.938321233614033</c:v>
                </c:pt>
                <c:pt idx="57">
                  <c:v>76.010713424946175</c:v>
                </c:pt>
                <c:pt idx="58">
                  <c:v>78.045028980171153</c:v>
                </c:pt>
                <c:pt idx="59">
                  <c:v>80.031409713882539</c:v>
                </c:pt>
                <c:pt idx="60">
                  <c:v>82.009705026057475</c:v>
                </c:pt>
                <c:pt idx="61">
                  <c:v>83.924809291979329</c:v>
                </c:pt>
                <c:pt idx="62">
                  <c:v>85.774489788710909</c:v>
                </c:pt>
                <c:pt idx="63">
                  <c:v>87.576833155047041</c:v>
                </c:pt>
                <c:pt idx="64">
                  <c:v>89.343330384188704</c:v>
                </c:pt>
                <c:pt idx="65">
                  <c:v>91.030629191130359</c:v>
                </c:pt>
                <c:pt idx="66">
                  <c:v>92.640507820590415</c:v>
                </c:pt>
                <c:pt idx="67">
                  <c:v>94.183503673521471</c:v>
                </c:pt>
                <c:pt idx="68">
                  <c:v>95.659536192650151</c:v>
                </c:pt>
                <c:pt idx="69">
                  <c:v>97.060157112103866</c:v>
                </c:pt>
                <c:pt idx="70">
                  <c:v>98.377497412462532</c:v>
                </c:pt>
                <c:pt idx="71">
                  <c:v>99.619973682186185</c:v>
                </c:pt>
                <c:pt idx="72">
                  <c:v>100.76983759844593</c:v>
                </c:pt>
                <c:pt idx="73">
                  <c:v>101.8244760254875</c:v>
                </c:pt>
                <c:pt idx="74">
                  <c:v>102.77263800188231</c:v>
                </c:pt>
                <c:pt idx="75">
                  <c:v>103.62310918579587</c:v>
                </c:pt>
                <c:pt idx="76">
                  <c:v>104.37319938380401</c:v>
                </c:pt>
                <c:pt idx="77">
                  <c:v>105.0197261758388</c:v>
                </c:pt>
                <c:pt idx="78">
                  <c:v>105.55694344503652</c:v>
                </c:pt>
                <c:pt idx="79">
                  <c:v>105.98040373228929</c:v>
                </c:pt>
                <c:pt idx="80">
                  <c:v>106.29191360374574</c:v>
                </c:pt>
                <c:pt idx="81">
                  <c:v>106.49144712902952</c:v>
                </c:pt>
                <c:pt idx="82">
                  <c:v>106.57797659309836</c:v>
                </c:pt>
                <c:pt idx="83">
                  <c:v>106.55011841057498</c:v>
                </c:pt>
                <c:pt idx="84">
                  <c:v>106.4087902846795</c:v>
                </c:pt>
                <c:pt idx="85">
                  <c:v>106.15503591561972</c:v>
                </c:pt>
                <c:pt idx="86">
                  <c:v>105.79026278189991</c:v>
                </c:pt>
                <c:pt idx="87">
                  <c:v>105.31582876362074</c:v>
                </c:pt>
                <c:pt idx="88">
                  <c:v>104.73397087876171</c:v>
                </c:pt>
                <c:pt idx="89">
                  <c:v>104.04692566365142</c:v>
                </c:pt>
                <c:pt idx="90">
                  <c:v>103.257051092591</c:v>
                </c:pt>
                <c:pt idx="91">
                  <c:v>102.36743405252483</c:v>
                </c:pt>
                <c:pt idx="92">
                  <c:v>101.3816774448529</c:v>
                </c:pt>
                <c:pt idx="93">
                  <c:v>100.30349865890119</c:v>
                </c:pt>
                <c:pt idx="94">
                  <c:v>99.136780362017433</c:v>
                </c:pt>
                <c:pt idx="95">
                  <c:v>97.8856945834405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42.820452570634096</c:v>
                </c:pt>
                <c:pt idx="43">
                  <c:v>45.273798274869584</c:v>
                </c:pt>
                <c:pt idx="44">
                  <c:v>47.736787982039687</c:v>
                </c:pt>
                <c:pt idx="45">
                  <c:v>50.172083200591196</c:v>
                </c:pt>
                <c:pt idx="46">
                  <c:v>52.676934444841208</c:v>
                </c:pt>
                <c:pt idx="47">
                  <c:v>55.291856247161405</c:v>
                </c:pt>
                <c:pt idx="48">
                  <c:v>57.967832879030034</c:v>
                </c:pt>
                <c:pt idx="49">
                  <c:v>60.687417662217861</c:v>
                </c:pt>
                <c:pt idx="50">
                  <c:v>63.339731310483238</c:v>
                </c:pt>
                <c:pt idx="51">
                  <c:v>66.063883870127924</c:v>
                </c:pt>
                <c:pt idx="52">
                  <c:v>68.842414187163939</c:v>
                </c:pt>
                <c:pt idx="53">
                  <c:v>71.708833211970628</c:v>
                </c:pt>
                <c:pt idx="54">
                  <c:v>74.53942668074356</c:v>
                </c:pt>
                <c:pt idx="55">
                  <c:v>77.396543572121232</c:v>
                </c:pt>
                <c:pt idx="56">
                  <c:v>80.331470581024206</c:v>
                </c:pt>
                <c:pt idx="57">
                  <c:v>83.271373026152077</c:v>
                </c:pt>
                <c:pt idx="58">
                  <c:v>86.223617164679609</c:v>
                </c:pt>
                <c:pt idx="59">
                  <c:v>89.173763234569094</c:v>
                </c:pt>
                <c:pt idx="60">
                  <c:v>92.158882017249923</c:v>
                </c:pt>
                <c:pt idx="61">
                  <c:v>95.118836637490347</c:v>
                </c:pt>
                <c:pt idx="62">
                  <c:v>98.047409895842449</c:v>
                </c:pt>
                <c:pt idx="63">
                  <c:v>100.95862367018077</c:v>
                </c:pt>
                <c:pt idx="64">
                  <c:v>103.85871105160368</c:v>
                </c:pt>
                <c:pt idx="65">
                  <c:v>106.69882593801435</c:v>
                </c:pt>
                <c:pt idx="66">
                  <c:v>109.47544853009292</c:v>
                </c:pt>
                <c:pt idx="67">
                  <c:v>112.19407517073103</c:v>
                </c:pt>
                <c:pt idx="68">
                  <c:v>114.84893584737162</c:v>
                </c:pt>
                <c:pt idx="69">
                  <c:v>117.42576605850149</c:v>
                </c:pt>
                <c:pt idx="70">
                  <c:v>119.9106006833162</c:v>
                </c:pt>
                <c:pt idx="71">
                  <c:v>122.30573142771067</c:v>
                </c:pt>
                <c:pt idx="72">
                  <c:v>124.58707719859652</c:v>
                </c:pt>
                <c:pt idx="73">
                  <c:v>126.74618736290738</c:v>
                </c:pt>
                <c:pt idx="74">
                  <c:v>128.76589477176037</c:v>
                </c:pt>
                <c:pt idx="75">
                  <c:v>130.64947761191931</c:v>
                </c:pt>
                <c:pt idx="76">
                  <c:v>132.38876822719465</c:v>
                </c:pt>
                <c:pt idx="77">
                  <c:v>133.97535353889387</c:v>
                </c:pt>
                <c:pt idx="78">
                  <c:v>135.39826524967384</c:v>
                </c:pt>
                <c:pt idx="79">
                  <c:v>136.64832984470667</c:v>
                </c:pt>
                <c:pt idx="80">
                  <c:v>137.72328233072574</c:v>
                </c:pt>
                <c:pt idx="81">
                  <c:v>138.61927089506975</c:v>
                </c:pt>
                <c:pt idx="82">
                  <c:v>139.33189173107272</c:v>
                </c:pt>
                <c:pt idx="83">
                  <c:v>139.85686030999713</c:v>
                </c:pt>
                <c:pt idx="84">
                  <c:v>140.19268544875754</c:v>
                </c:pt>
                <c:pt idx="85">
                  <c:v>140.33851734507968</c:v>
                </c:pt>
                <c:pt idx="86">
                  <c:v>140.29439324137388</c:v>
                </c:pt>
                <c:pt idx="87">
                  <c:v>140.06083155199067</c:v>
                </c:pt>
                <c:pt idx="88">
                  <c:v>139.63975737410033</c:v>
                </c:pt>
                <c:pt idx="89">
                  <c:v>139.03361404635814</c:v>
                </c:pt>
                <c:pt idx="90">
                  <c:v>138.24546877350215</c:v>
                </c:pt>
                <c:pt idx="91">
                  <c:v>137.27960248506659</c:v>
                </c:pt>
                <c:pt idx="92">
                  <c:v>136.14127688758595</c:v>
                </c:pt>
                <c:pt idx="93">
                  <c:v>134.83630649111288</c:v>
                </c:pt>
                <c:pt idx="94">
                  <c:v>133.3710769668244</c:v>
                </c:pt>
                <c:pt idx="95">
                  <c:v>131.752634919849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4</c:v>
                </c:pt>
                <c:pt idx="1">
                  <c:v>4</c:v>
                </c:pt>
                <c:pt idx="2">
                  <c:v>4</c:v>
                </c:pt>
                <c:pt idx="3">
                  <c:v>6</c:v>
                </c:pt>
                <c:pt idx="4">
                  <c:v>7</c:v>
                </c:pt>
                <c:pt idx="5">
                  <c:v>9</c:v>
                </c:pt>
                <c:pt idx="6">
                  <c:v>9</c:v>
                </c:pt>
                <c:pt idx="7">
                  <c:v>12</c:v>
                </c:pt>
                <c:pt idx="8">
                  <c:v>12</c:v>
                </c:pt>
                <c:pt idx="9">
                  <c:v>11</c:v>
                </c:pt>
                <c:pt idx="10">
                  <c:v>13</c:v>
                </c:pt>
                <c:pt idx="11">
                  <c:v>16</c:v>
                </c:pt>
                <c:pt idx="12">
                  <c:v>17</c:v>
                </c:pt>
                <c:pt idx="13">
                  <c:v>17</c:v>
                </c:pt>
                <c:pt idx="14">
                  <c:v>16</c:v>
                </c:pt>
                <c:pt idx="15">
                  <c:v>14</c:v>
                </c:pt>
                <c:pt idx="16">
                  <c:v>15</c:v>
                </c:pt>
                <c:pt idx="17">
                  <c:v>18</c:v>
                </c:pt>
                <c:pt idx="18">
                  <c:v>21</c:v>
                </c:pt>
                <c:pt idx="19">
                  <c:v>19</c:v>
                </c:pt>
                <c:pt idx="20">
                  <c:v>21</c:v>
                </c:pt>
                <c:pt idx="21">
                  <c:v>21</c:v>
                </c:pt>
                <c:pt idx="22">
                  <c:v>18</c:v>
                </c:pt>
                <c:pt idx="23">
                  <c:v>19</c:v>
                </c:pt>
                <c:pt idx="24">
                  <c:v>20</c:v>
                </c:pt>
                <c:pt idx="25">
                  <c:v>21</c:v>
                </c:pt>
                <c:pt idx="26">
                  <c:v>25</c:v>
                </c:pt>
                <c:pt idx="27">
                  <c:v>27</c:v>
                </c:pt>
                <c:pt idx="28">
                  <c:v>30</c:v>
                </c:pt>
                <c:pt idx="29">
                  <c:v>32</c:v>
                </c:pt>
                <c:pt idx="30">
                  <c:v>37</c:v>
                </c:pt>
                <c:pt idx="31">
                  <c:v>41</c:v>
                </c:pt>
                <c:pt idx="32">
                  <c:v>45</c:v>
                </c:pt>
                <c:pt idx="33">
                  <c:v>46</c:v>
                </c:pt>
                <c:pt idx="34">
                  <c:v>41</c:v>
                </c:pt>
                <c:pt idx="35">
                  <c:v>51</c:v>
                </c:pt>
                <c:pt idx="36">
                  <c:v>45</c:v>
                </c:pt>
                <c:pt idx="37">
                  <c:v>51</c:v>
                </c:pt>
                <c:pt idx="38">
                  <c:v>55</c:v>
                </c:pt>
                <c:pt idx="39">
                  <c:v>62</c:v>
                </c:pt>
                <c:pt idx="40">
                  <c:v>61</c:v>
                </c:pt>
                <c:pt idx="41">
                  <c:v>65</c:v>
                </c:pt>
                <c:pt idx="42">
                  <c:v>69</c:v>
                </c:pt>
                <c:pt idx="43">
                  <c:v>71</c:v>
                </c:pt>
                <c:pt idx="44">
                  <c:v>73</c:v>
                </c:pt>
                <c:pt idx="45">
                  <c:v>76</c:v>
                </c:pt>
                <c:pt idx="46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64.545016948839162</c:v>
                </c:pt>
                <c:pt idx="43">
                  <c:v>67.999113506990653</c:v>
                </c:pt>
                <c:pt idx="44">
                  <c:v>71.335787619110306</c:v>
                </c:pt>
                <c:pt idx="45">
                  <c:v>74.537559872741838</c:v>
                </c:pt>
                <c:pt idx="46">
                  <c:v>77.72589555729013</c:v>
                </c:pt>
                <c:pt idx="47">
                  <c:v>80.944286097719583</c:v>
                </c:pt>
                <c:pt idx="48">
                  <c:v>84.062567258074381</c:v>
                </c:pt>
                <c:pt idx="49">
                  <c:v>87.09781437866269</c:v>
                </c:pt>
                <c:pt idx="50">
                  <c:v>89.91306714600546</c:v>
                </c:pt>
                <c:pt idx="51">
                  <c:v>92.633928004908967</c:v>
                </c:pt>
                <c:pt idx="52">
                  <c:v>95.235072867900357</c:v>
                </c:pt>
                <c:pt idx="53">
                  <c:v>97.798192777513947</c:v>
                </c:pt>
                <c:pt idx="54">
                  <c:v>100.18342301660984</c:v>
                </c:pt>
                <c:pt idx="55">
                  <c:v>102.41847372230154</c:v>
                </c:pt>
                <c:pt idx="56">
                  <c:v>104.5961959120929</c:v>
                </c:pt>
                <c:pt idx="57">
                  <c:v>106.62909553327492</c:v>
                </c:pt>
                <c:pt idx="58">
                  <c:v>108.55696747488545</c:v>
                </c:pt>
                <c:pt idx="59">
                  <c:v>110.34145192510351</c:v>
                </c:pt>
                <c:pt idx="60">
                  <c:v>112.02643838339347</c:v>
                </c:pt>
                <c:pt idx="61">
                  <c:v>113.59719386810121</c:v>
                </c:pt>
                <c:pt idx="62">
                  <c:v>115.02463303081743</c:v>
                </c:pt>
                <c:pt idx="63">
                  <c:v>116.35624169213875</c:v>
                </c:pt>
                <c:pt idx="64">
                  <c:v>117.59229096812331</c:v>
                </c:pt>
                <c:pt idx="65">
                  <c:v>118.69540581545937</c:v>
                </c:pt>
                <c:pt idx="66">
                  <c:v>119.66740655836666</c:v>
                </c:pt>
                <c:pt idx="67">
                  <c:v>120.52599732580993</c:v>
                </c:pt>
                <c:pt idx="68">
                  <c:v>121.28481172946428</c:v>
                </c:pt>
                <c:pt idx="69">
                  <c:v>121.94120584709798</c:v>
                </c:pt>
                <c:pt idx="70">
                  <c:v>122.48856032539369</c:v>
                </c:pt>
                <c:pt idx="71">
                  <c:v>122.93687576614128</c:v>
                </c:pt>
                <c:pt idx="72">
                  <c:v>123.27025129559334</c:v>
                </c:pt>
                <c:pt idx="73">
                  <c:v>123.4942974841495</c:v>
                </c:pt>
                <c:pt idx="74">
                  <c:v>123.59694829317303</c:v>
                </c:pt>
                <c:pt idx="75">
                  <c:v>123.59732272465448</c:v>
                </c:pt>
                <c:pt idx="76">
                  <c:v>123.49793963919325</c:v>
                </c:pt>
                <c:pt idx="77">
                  <c:v>123.29764614335944</c:v>
                </c:pt>
                <c:pt idx="78">
                  <c:v>122.99154046574829</c:v>
                </c:pt>
                <c:pt idx="79">
                  <c:v>122.57592017779845</c:v>
                </c:pt>
                <c:pt idx="80">
                  <c:v>122.0589477717335</c:v>
                </c:pt>
                <c:pt idx="81">
                  <c:v>121.44398134463169</c:v>
                </c:pt>
                <c:pt idx="82">
                  <c:v>120.73226425596579</c:v>
                </c:pt>
                <c:pt idx="83">
                  <c:v>119.92393943022159</c:v>
                </c:pt>
                <c:pt idx="84">
                  <c:v>119.02270749887035</c:v>
                </c:pt>
                <c:pt idx="85">
                  <c:v>118.03185051395576</c:v>
                </c:pt>
                <c:pt idx="86">
                  <c:v>116.95477072077273</c:v>
                </c:pt>
                <c:pt idx="87">
                  <c:v>115.79440869565016</c:v>
                </c:pt>
                <c:pt idx="88">
                  <c:v>114.55460784187431</c:v>
                </c:pt>
                <c:pt idx="89">
                  <c:v>113.23857153524469</c:v>
                </c:pt>
                <c:pt idx="90">
                  <c:v>111.84910459672641</c:v>
                </c:pt>
                <c:pt idx="91">
                  <c:v>110.39005005131636</c:v>
                </c:pt>
                <c:pt idx="92">
                  <c:v>108.86573456467548</c:v>
                </c:pt>
                <c:pt idx="93">
                  <c:v>107.28020368240249</c:v>
                </c:pt>
                <c:pt idx="94">
                  <c:v>105.6373684589359</c:v>
                </c:pt>
                <c:pt idx="95">
                  <c:v>103.941319281877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64.682679621752911</c:v>
                </c:pt>
                <c:pt idx="43">
                  <c:v>68.329476961164872</c:v>
                </c:pt>
                <c:pt idx="44">
                  <c:v>71.919543055065319</c:v>
                </c:pt>
                <c:pt idx="45">
                  <c:v>75.440829746508584</c:v>
                </c:pt>
                <c:pt idx="46">
                  <c:v>79.018479580505229</c:v>
                </c:pt>
                <c:pt idx="47">
                  <c:v>82.701983088804951</c:v>
                </c:pt>
                <c:pt idx="48">
                  <c:v>86.361656816644825</c:v>
                </c:pt>
                <c:pt idx="49">
                  <c:v>90.01671450403785</c:v>
                </c:pt>
                <c:pt idx="50">
                  <c:v>93.529769782863397</c:v>
                </c:pt>
                <c:pt idx="51">
                  <c:v>97.025668325596541</c:v>
                </c:pt>
                <c:pt idx="52">
                  <c:v>100.47820515417979</c:v>
                </c:pt>
                <c:pt idx="53">
                  <c:v>103.96632768676287</c:v>
                </c:pt>
                <c:pt idx="54">
                  <c:v>107.34839008419434</c:v>
                </c:pt>
                <c:pt idx="55">
                  <c:v>110.64760236402833</c:v>
                </c:pt>
                <c:pt idx="56">
                  <c:v>113.95355589392135</c:v>
                </c:pt>
                <c:pt idx="57">
                  <c:v>117.17463454129566</c:v>
                </c:pt>
                <c:pt idx="58">
                  <c:v>120.34518912377268</c:v>
                </c:pt>
                <c:pt idx="59">
                  <c:v>123.41872372365307</c:v>
                </c:pt>
                <c:pt idx="60">
                  <c:v>126.43415189601757</c:v>
                </c:pt>
                <c:pt idx="61">
                  <c:v>129.36949736290768</c:v>
                </c:pt>
                <c:pt idx="62">
                  <c:v>132.1898424749223</c:v>
                </c:pt>
                <c:pt idx="63">
                  <c:v>134.93755870274907</c:v>
                </c:pt>
                <c:pt idx="64">
                  <c:v>137.60530640797242</c:v>
                </c:pt>
                <c:pt idx="65">
                  <c:v>140.14911742340641</c:v>
                </c:pt>
                <c:pt idx="66">
                  <c:v>142.56432350574846</c:v>
                </c:pt>
                <c:pt idx="67">
                  <c:v>144.86320048494508</c:v>
                </c:pt>
                <c:pt idx="68">
                  <c:v>147.05315183430503</c:v>
                </c:pt>
                <c:pt idx="69">
                  <c:v>149.12540547974564</c:v>
                </c:pt>
                <c:pt idx="70">
                  <c:v>151.06713793662564</c:v>
                </c:pt>
                <c:pt idx="71">
                  <c:v>152.88202193215986</c:v>
                </c:pt>
                <c:pt idx="72">
                  <c:v>154.54795012003305</c:v>
                </c:pt>
                <c:pt idx="73">
                  <c:v>156.06530395130591</c:v>
                </c:pt>
                <c:pt idx="74">
                  <c:v>157.41667069682813</c:v>
                </c:pt>
                <c:pt idx="75">
                  <c:v>158.61638467631346</c:v>
                </c:pt>
                <c:pt idx="76">
                  <c:v>159.6622920850148</c:v>
                </c:pt>
                <c:pt idx="77">
                  <c:v>160.54889556545368</c:v>
                </c:pt>
                <c:pt idx="78">
                  <c:v>161.26670055924754</c:v>
                </c:pt>
                <c:pt idx="79">
                  <c:v>161.80810615153706</c:v>
                </c:pt>
                <c:pt idx="80">
                  <c:v>162.17833131007461</c:v>
                </c:pt>
                <c:pt idx="81">
                  <c:v>162.37783582473645</c:v>
                </c:pt>
                <c:pt idx="82">
                  <c:v>162.40538120072597</c:v>
                </c:pt>
                <c:pt idx="83">
                  <c:v>162.25905021236116</c:v>
                </c:pt>
                <c:pt idx="84">
                  <c:v>161.94090354324311</c:v>
                </c:pt>
                <c:pt idx="85">
                  <c:v>161.45302027007892</c:v>
                </c:pt>
                <c:pt idx="86">
                  <c:v>160.79802878887523</c:v>
                </c:pt>
                <c:pt idx="87">
                  <c:v>159.97852495508545</c:v>
                </c:pt>
                <c:pt idx="88">
                  <c:v>158.99842574332706</c:v>
                </c:pt>
                <c:pt idx="89">
                  <c:v>157.86141224343831</c:v>
                </c:pt>
                <c:pt idx="90">
                  <c:v>156.57114870311153</c:v>
                </c:pt>
                <c:pt idx="91">
                  <c:v>155.13270194542088</c:v>
                </c:pt>
                <c:pt idx="92">
                  <c:v>153.55197313180093</c:v>
                </c:pt>
                <c:pt idx="93">
                  <c:v>151.8349126317097</c:v>
                </c:pt>
                <c:pt idx="94">
                  <c:v>149.98763962920188</c:v>
                </c:pt>
                <c:pt idx="95">
                  <c:v>148.016716179665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64.821122252029127</c:v>
                </c:pt>
                <c:pt idx="43">
                  <c:v>68.66267863466382</c:v>
                </c:pt>
                <c:pt idx="44">
                  <c:v>72.510366125008986</c:v>
                </c:pt>
                <c:pt idx="45">
                  <c:v>76.358662566543188</c:v>
                </c:pt>
                <c:pt idx="46">
                  <c:v>80.337644746406085</c:v>
                </c:pt>
                <c:pt idx="47">
                  <c:v>84.504206157023106</c:v>
                </c:pt>
                <c:pt idx="48">
                  <c:v>88.730641217357856</c:v>
                </c:pt>
                <c:pt idx="49">
                  <c:v>93.039883635925435</c:v>
                </c:pt>
                <c:pt idx="50">
                  <c:v>97.295733980774529</c:v>
                </c:pt>
                <c:pt idx="51">
                  <c:v>101.62389619626086</c:v>
                </c:pt>
                <c:pt idx="52">
                  <c:v>105.99886441064524</c:v>
                </c:pt>
                <c:pt idx="53">
                  <c:v>110.49833549375813</c:v>
                </c:pt>
                <c:pt idx="54">
                  <c:v>114.98025667053139</c:v>
                </c:pt>
                <c:pt idx="55">
                  <c:v>119.46454248938267</c:v>
                </c:pt>
                <c:pt idx="56">
                  <c:v>124.03855535069104</c:v>
                </c:pt>
                <c:pt idx="57">
                  <c:v>128.60736764831003</c:v>
                </c:pt>
                <c:pt idx="58">
                  <c:v>133.20045571230597</c:v>
                </c:pt>
                <c:pt idx="59">
                  <c:v>137.7634778175748</c:v>
                </c:pt>
                <c:pt idx="60">
                  <c:v>142.33036173538815</c:v>
                </c:pt>
                <c:pt idx="61">
                  <c:v>146.87154651406055</c:v>
                </c:pt>
                <c:pt idx="62">
                  <c:v>151.34560182683782</c:v>
                </c:pt>
                <c:pt idx="63">
                  <c:v>155.78876804309093</c:v>
                </c:pt>
                <c:pt idx="64">
                  <c:v>160.18473177533053</c:v>
                </c:pt>
                <c:pt idx="65">
                  <c:v>164.48126194117225</c:v>
                </c:pt>
                <c:pt idx="66">
                  <c:v>168.66523629503294</c:v>
                </c:pt>
                <c:pt idx="67">
                  <c:v>172.74123622835793</c:v>
                </c:pt>
                <c:pt idx="68">
                  <c:v>176.70789346293338</c:v>
                </c:pt>
                <c:pt idx="69">
                  <c:v>180.54752029185667</c:v>
                </c:pt>
                <c:pt idx="70">
                  <c:v>184.23808930223916</c:v>
                </c:pt>
                <c:pt idx="71">
                  <c:v>187.77376676660049</c:v>
                </c:pt>
                <c:pt idx="72">
                  <c:v>191.12293315058429</c:v>
                </c:pt>
                <c:pt idx="73">
                  <c:v>194.27735389649791</c:v>
                </c:pt>
                <c:pt idx="74">
                  <c:v>197.21083970367957</c:v>
                </c:pt>
                <c:pt idx="75">
                  <c:v>199.92951278060221</c:v>
                </c:pt>
                <c:pt idx="76">
                  <c:v>202.4231691399329</c:v>
                </c:pt>
                <c:pt idx="77">
                  <c:v>204.6786853748907</c:v>
                </c:pt>
                <c:pt idx="78">
                  <c:v>206.6788308454897</c:v>
                </c:pt>
                <c:pt idx="79">
                  <c:v>208.40914563941141</c:v>
                </c:pt>
                <c:pt idx="80">
                  <c:v>209.86917074471162</c:v>
                </c:pt>
                <c:pt idx="81">
                  <c:v>211.05399326969993</c:v>
                </c:pt>
                <c:pt idx="82">
                  <c:v>211.95770921629048</c:v>
                </c:pt>
                <c:pt idx="83">
                  <c:v>212.57447636527843</c:v>
                </c:pt>
                <c:pt idx="84">
                  <c:v>212.90319251911149</c:v>
                </c:pt>
                <c:pt idx="85">
                  <c:v>212.94356989572429</c:v>
                </c:pt>
                <c:pt idx="86">
                  <c:v>212.69667018681685</c:v>
                </c:pt>
                <c:pt idx="87">
                  <c:v>212.16432964890754</c:v>
                </c:pt>
                <c:pt idx="88">
                  <c:v>211.35050290647297</c:v>
                </c:pt>
                <c:pt idx="89">
                  <c:v>210.25968658703937</c:v>
                </c:pt>
                <c:pt idx="90">
                  <c:v>208.89710555031411</c:v>
                </c:pt>
                <c:pt idx="91">
                  <c:v>207.27010071451335</c:v>
                </c:pt>
                <c:pt idx="92">
                  <c:v>205.38752776853721</c:v>
                </c:pt>
                <c:pt idx="93">
                  <c:v>203.25892855496511</c:v>
                </c:pt>
                <c:pt idx="94">
                  <c:v>200.89459678705435</c:v>
                </c:pt>
                <c:pt idx="95">
                  <c:v>198.3057969823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133</c:v>
                </c:pt>
                <c:pt idx="1">
                  <c:v>138</c:v>
                </c:pt>
                <c:pt idx="2">
                  <c:v>145</c:v>
                </c:pt>
                <c:pt idx="3">
                  <c:v>153</c:v>
                </c:pt>
                <c:pt idx="4">
                  <c:v>171</c:v>
                </c:pt>
                <c:pt idx="5">
                  <c:v>193</c:v>
                </c:pt>
                <c:pt idx="6">
                  <c:v>197</c:v>
                </c:pt>
                <c:pt idx="7">
                  <c:v>205</c:v>
                </c:pt>
                <c:pt idx="8">
                  <c:v>212</c:v>
                </c:pt>
                <c:pt idx="9">
                  <c:v>219</c:v>
                </c:pt>
                <c:pt idx="10">
                  <c:v>244</c:v>
                </c:pt>
                <c:pt idx="11">
                  <c:v>260</c:v>
                </c:pt>
                <c:pt idx="12">
                  <c:v>268</c:v>
                </c:pt>
                <c:pt idx="13">
                  <c:v>284</c:v>
                </c:pt>
                <c:pt idx="14">
                  <c:v>297</c:v>
                </c:pt>
                <c:pt idx="15">
                  <c:v>309</c:v>
                </c:pt>
                <c:pt idx="16">
                  <c:v>320</c:v>
                </c:pt>
                <c:pt idx="17">
                  <c:v>347</c:v>
                </c:pt>
                <c:pt idx="18">
                  <c:v>367</c:v>
                </c:pt>
                <c:pt idx="19">
                  <c:v>389</c:v>
                </c:pt>
                <c:pt idx="20">
                  <c:v>408</c:v>
                </c:pt>
                <c:pt idx="21">
                  <c:v>434</c:v>
                </c:pt>
                <c:pt idx="22">
                  <c:v>457</c:v>
                </c:pt>
                <c:pt idx="23">
                  <c:v>480</c:v>
                </c:pt>
                <c:pt idx="24">
                  <c:v>504</c:v>
                </c:pt>
                <c:pt idx="25">
                  <c:v>533</c:v>
                </c:pt>
                <c:pt idx="26">
                  <c:v>579</c:v>
                </c:pt>
                <c:pt idx="27">
                  <c:v>607</c:v>
                </c:pt>
                <c:pt idx="28">
                  <c:v>648</c:v>
                </c:pt>
                <c:pt idx="29">
                  <c:v>686</c:v>
                </c:pt>
                <c:pt idx="30">
                  <c:v>724</c:v>
                </c:pt>
                <c:pt idx="31">
                  <c:v>784</c:v>
                </c:pt>
                <c:pt idx="32">
                  <c:v>832</c:v>
                </c:pt>
                <c:pt idx="33">
                  <c:v>885</c:v>
                </c:pt>
                <c:pt idx="34">
                  <c:v>938</c:v>
                </c:pt>
                <c:pt idx="35">
                  <c:v>1010</c:v>
                </c:pt>
                <c:pt idx="36">
                  <c:v>1062</c:v>
                </c:pt>
                <c:pt idx="37">
                  <c:v>1123</c:v>
                </c:pt>
                <c:pt idx="38">
                  <c:v>1211</c:v>
                </c:pt>
                <c:pt idx="39">
                  <c:v>1284</c:v>
                </c:pt>
                <c:pt idx="40">
                  <c:v>1355</c:v>
                </c:pt>
                <c:pt idx="41">
                  <c:v>1416</c:v>
                </c:pt>
                <c:pt idx="42">
                  <c:v>1491</c:v>
                </c:pt>
                <c:pt idx="43">
                  <c:v>1564</c:v>
                </c:pt>
                <c:pt idx="44">
                  <c:v>1635</c:v>
                </c:pt>
                <c:pt idx="45">
                  <c:v>1720</c:v>
                </c:pt>
                <c:pt idx="46">
                  <c:v>17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492.3906796197946</c:v>
                </c:pt>
                <c:pt idx="43">
                  <c:v>1574.6257753358059</c:v>
                </c:pt>
                <c:pt idx="44">
                  <c:v>1658.4763945013476</c:v>
                </c:pt>
                <c:pt idx="45">
                  <c:v>1743.474636368363</c:v>
                </c:pt>
                <c:pt idx="46">
                  <c:v>1831.2843234284246</c:v>
                </c:pt>
                <c:pt idx="47">
                  <c:v>1921.0120346059089</c:v>
                </c:pt>
                <c:pt idx="48">
                  <c:v>2013.0482154263159</c:v>
                </c:pt>
                <c:pt idx="49">
                  <c:v>2106.6005991366537</c:v>
                </c:pt>
                <c:pt idx="50">
                  <c:v>2201.3614262280544</c:v>
                </c:pt>
                <c:pt idx="51">
                  <c:v>2297.5512591488259</c:v>
                </c:pt>
                <c:pt idx="52">
                  <c:v>2395.0853259168134</c:v>
                </c:pt>
                <c:pt idx="53">
                  <c:v>2494.2958750060989</c:v>
                </c:pt>
                <c:pt idx="54">
                  <c:v>2594.7062434144837</c:v>
                </c:pt>
                <c:pt idx="55">
                  <c:v>2696.2733684240507</c:v>
                </c:pt>
                <c:pt idx="56">
                  <c:v>2798.8869068936556</c:v>
                </c:pt>
                <c:pt idx="57">
                  <c:v>2902.5397476380103</c:v>
                </c:pt>
                <c:pt idx="58">
                  <c:v>3007.0337481825859</c:v>
                </c:pt>
                <c:pt idx="59">
                  <c:v>3112.2354877967828</c:v>
                </c:pt>
                <c:pt idx="60">
                  <c:v>3218.0869950753381</c:v>
                </c:pt>
                <c:pt idx="61">
                  <c:v>3324.7821956597554</c:v>
                </c:pt>
                <c:pt idx="62">
                  <c:v>3432.0870319120049</c:v>
                </c:pt>
                <c:pt idx="63">
                  <c:v>3539.8857943690405</c:v>
                </c:pt>
                <c:pt idx="64">
                  <c:v>3648.0909470312108</c:v>
                </c:pt>
                <c:pt idx="65">
                  <c:v>3756.6151095552286</c:v>
                </c:pt>
                <c:pt idx="66">
                  <c:v>3865.3715498772654</c:v>
                </c:pt>
                <c:pt idx="67">
                  <c:v>3974.2718133817634</c:v>
                </c:pt>
                <c:pt idx="68">
                  <c:v>4083.2262422543595</c:v>
                </c:pt>
                <c:pt idx="69">
                  <c:v>4192.1442920711625</c:v>
                </c:pt>
                <c:pt idx="70">
                  <c:v>4300.9349195273799</c:v>
                </c:pt>
                <c:pt idx="71">
                  <c:v>4409.5068267418555</c:v>
                </c:pt>
                <c:pt idx="72">
                  <c:v>4517.76977832797</c:v>
                </c:pt>
                <c:pt idx="73">
                  <c:v>4625.6349781449517</c:v>
                </c:pt>
                <c:pt idx="74">
                  <c:v>4733.0150391969137</c:v>
                </c:pt>
                <c:pt idx="75">
                  <c:v>4839.8239853009472</c:v>
                </c:pt>
                <c:pt idx="76">
                  <c:v>4945.9776249098941</c:v>
                </c:pt>
                <c:pt idx="77">
                  <c:v>5051.3936750613439</c:v>
                </c:pt>
                <c:pt idx="78">
                  <c:v>5155.9921297040437</c:v>
                </c:pt>
                <c:pt idx="79">
                  <c:v>5259.6955495282846</c:v>
                </c:pt>
                <c:pt idx="80">
                  <c:v>5362.4293510263415</c:v>
                </c:pt>
                <c:pt idx="81">
                  <c:v>5464.1219652100581</c:v>
                </c:pt>
                <c:pt idx="82">
                  <c:v>5564.7048584328322</c:v>
                </c:pt>
                <c:pt idx="83">
                  <c:v>5664.1126941971406</c:v>
                </c:pt>
                <c:pt idx="84">
                  <c:v>5762.283440401543</c:v>
                </c:pt>
                <c:pt idx="85">
                  <c:v>5859.1584729766728</c:v>
                </c:pt>
                <c:pt idx="86">
                  <c:v>5954.682643503671</c:v>
                </c:pt>
                <c:pt idx="87">
                  <c:v>6048.8043899156719</c:v>
                </c:pt>
                <c:pt idx="88">
                  <c:v>6141.4758151219021</c:v>
                </c:pt>
                <c:pt idx="89">
                  <c:v>6232.6526941109687</c:v>
                </c:pt>
                <c:pt idx="90">
                  <c:v>6322.29444485556</c:v>
                </c:pt>
                <c:pt idx="91">
                  <c:v>6410.3641494045778</c:v>
                </c:pt>
                <c:pt idx="92">
                  <c:v>6496.828533906817</c:v>
                </c:pt>
                <c:pt idx="93">
                  <c:v>6581.6579415350925</c:v>
                </c:pt>
                <c:pt idx="94">
                  <c:v>6664.8262863335613</c:v>
                </c:pt>
                <c:pt idx="95">
                  <c:v>6746.31110999610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493.4843274492912</c:v>
                </c:pt>
                <c:pt idx="43">
                  <c:v>1577.3196855377473</c:v>
                </c:pt>
                <c:pt idx="44">
                  <c:v>1663.3618407568913</c:v>
                </c:pt>
                <c:pt idx="45">
                  <c:v>1751.2262803137221</c:v>
                </c:pt>
                <c:pt idx="46">
                  <c:v>1842.6559327573243</c:v>
                </c:pt>
                <c:pt idx="47">
                  <c:v>1936.8381707012097</c:v>
                </c:pt>
                <c:pt idx="48">
                  <c:v>2034.2364517653627</c:v>
                </c:pt>
                <c:pt idx="49">
                  <c:v>2134.126895803437</c:v>
                </c:pt>
                <c:pt idx="50">
                  <c:v>2236.263296391252</c:v>
                </c:pt>
                <c:pt idx="51">
                  <c:v>2340.9190172946837</c:v>
                </c:pt>
                <c:pt idx="52">
                  <c:v>2448.0568430176081</c:v>
                </c:pt>
                <c:pt idx="53">
                  <c:v>2558.0497975414637</c:v>
                </c:pt>
                <c:pt idx="54">
                  <c:v>2670.460533587484</c:v>
                </c:pt>
                <c:pt idx="55">
                  <c:v>2785.2761206822574</c:v>
                </c:pt>
                <c:pt idx="56">
                  <c:v>2902.4094896884794</c:v>
                </c:pt>
                <c:pt idx="57">
                  <c:v>3021.8707111122567</c:v>
                </c:pt>
                <c:pt idx="58">
                  <c:v>3143.4737257896113</c:v>
                </c:pt>
                <c:pt idx="59">
                  <c:v>3267.0914569679335</c:v>
                </c:pt>
                <c:pt idx="60">
                  <c:v>3392.6663552541722</c:v>
                </c:pt>
                <c:pt idx="61">
                  <c:v>3520.3869815883572</c:v>
                </c:pt>
                <c:pt idx="62">
                  <c:v>3650.010069663419</c:v>
                </c:pt>
                <c:pt idx="63">
                  <c:v>3781.4040297113861</c:v>
                </c:pt>
                <c:pt idx="64">
                  <c:v>3914.4592559765752</c:v>
                </c:pt>
                <c:pt idx="65">
                  <c:v>4049.0613234154939</c:v>
                </c:pt>
                <c:pt idx="66">
                  <c:v>4185.0918151356273</c:v>
                </c:pt>
                <c:pt idx="67">
                  <c:v>4322.4252191838023</c:v>
                </c:pt>
                <c:pt idx="68">
                  <c:v>4460.9297923463819</c:v>
                </c:pt>
                <c:pt idx="69">
                  <c:v>4600.4681076607776</c:v>
                </c:pt>
                <c:pt idx="70">
                  <c:v>4740.8977413261509</c:v>
                </c:pt>
                <c:pt idx="71">
                  <c:v>4882.071759511723</c:v>
                </c:pt>
                <c:pt idx="72">
                  <c:v>5023.8407742593354</c:v>
                </c:pt>
                <c:pt idx="73">
                  <c:v>5166.0536821768874</c:v>
                </c:pt>
                <c:pt idx="74">
                  <c:v>5308.5578691913024</c:v>
                </c:pt>
                <c:pt idx="75">
                  <c:v>5451.1995000772458</c:v>
                </c:pt>
                <c:pt idx="76">
                  <c:v>5593.8243363063475</c:v>
                </c:pt>
                <c:pt idx="77">
                  <c:v>5736.2782176868468</c:v>
                </c:pt>
                <c:pt idx="78">
                  <c:v>5878.407893059999</c:v>
                </c:pt>
                <c:pt idx="79">
                  <c:v>6020.0617488561938</c:v>
                </c:pt>
                <c:pt idx="80">
                  <c:v>6161.0905474219726</c:v>
                </c:pt>
                <c:pt idx="81">
                  <c:v>6301.34798181529</c:v>
                </c:pt>
                <c:pt idx="82">
                  <c:v>6440.6910400109564</c:v>
                </c:pt>
                <c:pt idx="83">
                  <c:v>6578.9805596175029</c:v>
                </c:pt>
                <c:pt idx="84">
                  <c:v>6716.0816951071602</c:v>
                </c:pt>
                <c:pt idx="85">
                  <c:v>6851.864371314452</c:v>
                </c:pt>
                <c:pt idx="86">
                  <c:v>6986.2036714155274</c:v>
                </c:pt>
                <c:pt idx="87">
                  <c:v>7118.9802707609888</c:v>
                </c:pt>
                <c:pt idx="88">
                  <c:v>7250.0808059944229</c:v>
                </c:pt>
                <c:pt idx="89">
                  <c:v>7379.3981266447445</c:v>
                </c:pt>
                <c:pt idx="90">
                  <c:v>7506.8314760943313</c:v>
                </c:pt>
                <c:pt idx="91">
                  <c:v>7632.2867200164255</c:v>
                </c:pt>
                <c:pt idx="92">
                  <c:v>7755.6764950472298</c:v>
                </c:pt>
                <c:pt idx="93">
                  <c:v>7876.9203246074621</c:v>
                </c:pt>
                <c:pt idx="94">
                  <c:v>7995.9446850196355</c:v>
                </c:pt>
                <c:pt idx="95">
                  <c:v>8112.68306932532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494.5841791768044</c:v>
                </c:pt>
                <c:pt idx="43">
                  <c:v>1580.0365445280831</c:v>
                </c:pt>
                <c:pt idx="44">
                  <c:v>1668.3053147382977</c:v>
                </c:pt>
                <c:pt idx="45">
                  <c:v>1759.0992898064014</c:v>
                </c:pt>
                <c:pt idx="46">
                  <c:v>1854.2524472620698</c:v>
                </c:pt>
                <c:pt idx="47">
                  <c:v>1953.0468200744008</c:v>
                </c:pt>
                <c:pt idx="48">
                  <c:v>2056.0345238864434</c:v>
                </c:pt>
                <c:pt idx="49">
                  <c:v>2162.5773860190016</c:v>
                </c:pt>
                <c:pt idx="50">
                  <c:v>2272.5095210795848</c:v>
                </c:pt>
                <c:pt idx="51">
                  <c:v>2386.1771032424003</c:v>
                </c:pt>
                <c:pt idx="52">
                  <c:v>2503.6114461324996</c:v>
                </c:pt>
                <c:pt idx="53">
                  <c:v>2625.2479034984513</c:v>
                </c:pt>
                <c:pt idx="54">
                  <c:v>2750.7102468468292</c:v>
                </c:pt>
                <c:pt idx="55">
                  <c:v>2880.0373546261626</c:v>
                </c:pt>
                <c:pt idx="56">
                  <c:v>3013.1867550151987</c:v>
                </c:pt>
                <c:pt idx="57">
                  <c:v>3150.2062252226683</c:v>
                </c:pt>
                <c:pt idx="58">
                  <c:v>3290.9412309643385</c:v>
                </c:pt>
                <c:pt idx="59">
                  <c:v>3435.2890426251947</c:v>
                </c:pt>
                <c:pt idx="60">
                  <c:v>3583.2086408996593</c:v>
                </c:pt>
                <c:pt idx="61">
                  <c:v>3734.8971052159059</c:v>
                </c:pt>
                <c:pt idx="62">
                  <c:v>3890.113280313406</c:v>
                </c:pt>
                <c:pt idx="63">
                  <c:v>4048.718198698768</c:v>
                </c:pt>
                <c:pt idx="64">
                  <c:v>4210.5856219990183</c:v>
                </c:pt>
                <c:pt idx="65">
                  <c:v>4375.5764427110225</c:v>
                </c:pt>
                <c:pt idx="66">
                  <c:v>4543.5396944028416</c:v>
                </c:pt>
                <c:pt idx="67">
                  <c:v>4714.3083733482872</c:v>
                </c:pt>
                <c:pt idx="68">
                  <c:v>4887.7006024264629</c:v>
                </c:pt>
                <c:pt idx="69">
                  <c:v>5063.5203793283999</c:v>
                </c:pt>
                <c:pt idx="70">
                  <c:v>5241.5585965456567</c:v>
                </c:pt>
                <c:pt idx="71">
                  <c:v>5421.5938363017012</c:v>
                </c:pt>
                <c:pt idx="72">
                  <c:v>5603.3953905653434</c:v>
                </c:pt>
                <c:pt idx="73">
                  <c:v>5786.7245425068431</c:v>
                </c:pt>
                <c:pt idx="74">
                  <c:v>5971.3352014368047</c:v>
                </c:pt>
                <c:pt idx="75">
                  <c:v>6156.9747276953567</c:v>
                </c:pt>
                <c:pt idx="76">
                  <c:v>6343.3855128161176</c:v>
                </c:pt>
                <c:pt idx="77">
                  <c:v>6530.306147342435</c:v>
                </c:pt>
                <c:pt idx="78">
                  <c:v>6717.4730925868644</c:v>
                </c:pt>
                <c:pt idx="79">
                  <c:v>6904.6222404804621</c:v>
                </c:pt>
                <c:pt idx="80">
                  <c:v>7091.4905128160972</c:v>
                </c:pt>
                <c:pt idx="81">
                  <c:v>7277.8172202244277</c:v>
                </c:pt>
                <c:pt idx="82">
                  <c:v>7463.3451696078155</c:v>
                </c:pt>
                <c:pt idx="83">
                  <c:v>7647.822020503796</c:v>
                </c:pt>
                <c:pt idx="84">
                  <c:v>7831.0015052207445</c:v>
                </c:pt>
                <c:pt idx="85">
                  <c:v>8012.6446099851937</c:v>
                </c:pt>
                <c:pt idx="86">
                  <c:v>8192.5206365430895</c:v>
                </c:pt>
                <c:pt idx="87">
                  <c:v>8370.408290645606</c:v>
                </c:pt>
                <c:pt idx="88">
                  <c:v>8546.096640300475</c:v>
                </c:pt>
                <c:pt idx="89">
                  <c:v>8719.3858717235962</c:v>
                </c:pt>
                <c:pt idx="90">
                  <c:v>8890.087901581679</c:v>
                </c:pt>
                <c:pt idx="91">
                  <c:v>9058.0270010583408</c:v>
                </c:pt>
                <c:pt idx="92">
                  <c:v>9223.0402594178577</c:v>
                </c:pt>
                <c:pt idx="93">
                  <c:v>9384.9779499016749</c:v>
                </c:pt>
                <c:pt idx="94">
                  <c:v>9543.7037754012599</c:v>
                </c:pt>
                <c:pt idx="95">
                  <c:v>9699.09505962003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39</c:v>
                </c:pt>
                <c:pt idx="1">
                  <c:v>41</c:v>
                </c:pt>
                <c:pt idx="2">
                  <c:v>45</c:v>
                </c:pt>
                <c:pt idx="3">
                  <c:v>48</c:v>
                </c:pt>
                <c:pt idx="4">
                  <c:v>55</c:v>
                </c:pt>
                <c:pt idx="5">
                  <c:v>62</c:v>
                </c:pt>
                <c:pt idx="6">
                  <c:v>62</c:v>
                </c:pt>
                <c:pt idx="7">
                  <c:v>63</c:v>
                </c:pt>
                <c:pt idx="8">
                  <c:v>64</c:v>
                </c:pt>
                <c:pt idx="9">
                  <c:v>66</c:v>
                </c:pt>
                <c:pt idx="10">
                  <c:v>69</c:v>
                </c:pt>
                <c:pt idx="11">
                  <c:v>71</c:v>
                </c:pt>
                <c:pt idx="12">
                  <c:v>71</c:v>
                </c:pt>
                <c:pt idx="13">
                  <c:v>74</c:v>
                </c:pt>
                <c:pt idx="14">
                  <c:v>78</c:v>
                </c:pt>
                <c:pt idx="15">
                  <c:v>78</c:v>
                </c:pt>
                <c:pt idx="16">
                  <c:v>79</c:v>
                </c:pt>
                <c:pt idx="17">
                  <c:v>87</c:v>
                </c:pt>
                <c:pt idx="18">
                  <c:v>89</c:v>
                </c:pt>
                <c:pt idx="19">
                  <c:v>95</c:v>
                </c:pt>
                <c:pt idx="20">
                  <c:v>96</c:v>
                </c:pt>
                <c:pt idx="21">
                  <c:v>98</c:v>
                </c:pt>
                <c:pt idx="22">
                  <c:v>102</c:v>
                </c:pt>
                <c:pt idx="23">
                  <c:v>106</c:v>
                </c:pt>
                <c:pt idx="24">
                  <c:v>111</c:v>
                </c:pt>
                <c:pt idx="25">
                  <c:v>116</c:v>
                </c:pt>
                <c:pt idx="26">
                  <c:v>126</c:v>
                </c:pt>
                <c:pt idx="27">
                  <c:v>129</c:v>
                </c:pt>
                <c:pt idx="28">
                  <c:v>138</c:v>
                </c:pt>
                <c:pt idx="29">
                  <c:v>145</c:v>
                </c:pt>
                <c:pt idx="30">
                  <c:v>149</c:v>
                </c:pt>
                <c:pt idx="31">
                  <c:v>153</c:v>
                </c:pt>
                <c:pt idx="32">
                  <c:v>155</c:v>
                </c:pt>
                <c:pt idx="33">
                  <c:v>171</c:v>
                </c:pt>
                <c:pt idx="34">
                  <c:v>178</c:v>
                </c:pt>
                <c:pt idx="35">
                  <c:v>190</c:v>
                </c:pt>
                <c:pt idx="36">
                  <c:v>195</c:v>
                </c:pt>
                <c:pt idx="37">
                  <c:v>205</c:v>
                </c:pt>
                <c:pt idx="38">
                  <c:v>221</c:v>
                </c:pt>
                <c:pt idx="39">
                  <c:v>235</c:v>
                </c:pt>
                <c:pt idx="40">
                  <c:v>255</c:v>
                </c:pt>
                <c:pt idx="41">
                  <c:v>263</c:v>
                </c:pt>
                <c:pt idx="42">
                  <c:v>275</c:v>
                </c:pt>
                <c:pt idx="43">
                  <c:v>284</c:v>
                </c:pt>
                <c:pt idx="44">
                  <c:v>292</c:v>
                </c:pt>
                <c:pt idx="45">
                  <c:v>305</c:v>
                </c:pt>
                <c:pt idx="46">
                  <c:v>3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276.44142070730692</c:v>
                </c:pt>
                <c:pt idx="43">
                  <c:v>290.18931820728159</c:v>
                </c:pt>
                <c:pt idx="44">
                  <c:v>304.20594207395027</c:v>
                </c:pt>
                <c:pt idx="45">
                  <c:v>318.41327218027038</c:v>
                </c:pt>
                <c:pt idx="46">
                  <c:v>333.08852609782969</c:v>
                </c:pt>
                <c:pt idx="47">
                  <c:v>348.08319944004904</c:v>
                </c:pt>
                <c:pt idx="48">
                  <c:v>363.46437488527067</c:v>
                </c:pt>
                <c:pt idx="49">
                  <c:v>379.09852026455087</c:v>
                </c:pt>
                <c:pt idx="50">
                  <c:v>394.93330713513001</c:v>
                </c:pt>
                <c:pt idx="51">
                  <c:v>411.00715652207793</c:v>
                </c:pt>
                <c:pt idx="52">
                  <c:v>427.30702078791956</c:v>
                </c:pt>
                <c:pt idx="53">
                  <c:v>443.88651551679777</c:v>
                </c:pt>
                <c:pt idx="54">
                  <c:v>460.66555630283574</c:v>
                </c:pt>
                <c:pt idx="55">
                  <c:v>477.63801330012609</c:v>
                </c:pt>
                <c:pt idx="56">
                  <c:v>494.78585771987917</c:v>
                </c:pt>
                <c:pt idx="57">
                  <c:v>512.10809579905231</c:v>
                </c:pt>
                <c:pt idx="58">
                  <c:v>529.57111385068708</c:v>
                </c:pt>
                <c:pt idx="59">
                  <c:v>547.15306597072436</c:v>
                </c:pt>
                <c:pt idx="60">
                  <c:v>564.84422328239475</c:v>
                </c:pt>
                <c:pt idx="61">
                  <c:v>582.67632773649257</c:v>
                </c:pt>
                <c:pt idx="62">
                  <c:v>600.6106397585404</c:v>
                </c:pt>
                <c:pt idx="63">
                  <c:v>618.62790092614773</c:v>
                </c:pt>
                <c:pt idx="64">
                  <c:v>636.71348633261232</c:v>
                </c:pt>
                <c:pt idx="65">
                  <c:v>654.85279624481359</c:v>
                </c:pt>
                <c:pt idx="66">
                  <c:v>673.03133798463625</c:v>
                </c:pt>
                <c:pt idx="67">
                  <c:v>691.23432984001442</c:v>
                </c:pt>
                <c:pt idx="68">
                  <c:v>709.44678713300175</c:v>
                </c:pt>
                <c:pt idx="69">
                  <c:v>727.65357553718786</c:v>
                </c:pt>
                <c:pt idx="70">
                  <c:v>745.83947620919469</c:v>
                </c:pt>
                <c:pt idx="71">
                  <c:v>763.98922712005401</c:v>
                </c:pt>
                <c:pt idx="72">
                  <c:v>782.08774262079635</c:v>
                </c:pt>
                <c:pt idx="73">
                  <c:v>800.12017632883067</c:v>
                </c:pt>
                <c:pt idx="74">
                  <c:v>818.07191604524223</c:v>
                </c:pt>
                <c:pt idx="75">
                  <c:v>835.92858430847525</c:v>
                </c:pt>
                <c:pt idx="76">
                  <c:v>853.67610063727284</c:v>
                </c:pt>
                <c:pt idx="77">
                  <c:v>871.3007023008422</c:v>
                </c:pt>
                <c:pt idx="78">
                  <c:v>888.78900612434074</c:v>
                </c:pt>
                <c:pt idx="79">
                  <c:v>906.12805711226247</c:v>
                </c:pt>
                <c:pt idx="80">
                  <c:v>923.30537659205288</c:v>
                </c:pt>
                <c:pt idx="81">
                  <c:v>940.30898867870758</c:v>
                </c:pt>
                <c:pt idx="82">
                  <c:v>957.12742417447521</c:v>
                </c:pt>
                <c:pt idx="83">
                  <c:v>973.74974769002904</c:v>
                </c:pt>
                <c:pt idx="84">
                  <c:v>990.16557558914781</c:v>
                </c:pt>
                <c:pt idx="85">
                  <c:v>1006.365093369618</c:v>
                </c:pt>
                <c:pt idx="86">
                  <c:v>1022.3390670943652</c:v>
                </c:pt>
                <c:pt idx="87">
                  <c:v>1038.0788618988686</c:v>
                </c:pt>
                <c:pt idx="88">
                  <c:v>1053.5764551013881</c:v>
                </c:pt>
                <c:pt idx="89">
                  <c:v>1068.8244375423383</c:v>
                </c:pt>
                <c:pt idx="90">
                  <c:v>1083.8160089200046</c:v>
                </c:pt>
                <c:pt idx="91">
                  <c:v>1098.5449813464979</c:v>
                </c:pt>
                <c:pt idx="92">
                  <c:v>1113.0057760784048</c:v>
                </c:pt>
                <c:pt idx="93">
                  <c:v>1127.1934190468651</c:v>
                </c:pt>
                <c:pt idx="94">
                  <c:v>1141.1035332176316</c:v>
                </c:pt>
                <c:pt idx="95">
                  <c:v>1154.73234787170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276.62369787898717</c:v>
                </c:pt>
                <c:pt idx="43">
                  <c:v>290.63832811729503</c:v>
                </c:pt>
                <c:pt idx="44">
                  <c:v>305.02027371725683</c:v>
                </c:pt>
                <c:pt idx="45">
                  <c:v>319.70543909817525</c:v>
                </c:pt>
                <c:pt idx="46">
                  <c:v>334.98425318296825</c:v>
                </c:pt>
                <c:pt idx="47">
                  <c:v>350.72170630803993</c:v>
                </c:pt>
                <c:pt idx="48">
                  <c:v>366.99709052046575</c:v>
                </c:pt>
                <c:pt idx="49">
                  <c:v>383.68831681627881</c:v>
                </c:pt>
                <c:pt idx="50">
                  <c:v>400.7533572324005</c:v>
                </c:pt>
                <c:pt idx="51">
                  <c:v>418.23947130470015</c:v>
                </c:pt>
                <c:pt idx="52">
                  <c:v>436.14157927275505</c:v>
                </c:pt>
                <c:pt idx="53">
                  <c:v>454.52014046081177</c:v>
                </c:pt>
                <c:pt idx="54">
                  <c:v>473.30166089977837</c:v>
                </c:pt>
                <c:pt idx="55">
                  <c:v>492.48507008124926</c:v>
                </c:pt>
                <c:pt idx="56">
                  <c:v>512.05625728462542</c:v>
                </c:pt>
                <c:pt idx="57">
                  <c:v>532.01713124522598</c:v>
                </c:pt>
                <c:pt idx="58">
                  <c:v>552.33612945428501</c:v>
                </c:pt>
                <c:pt idx="59">
                  <c:v>572.99249647773922</c:v>
                </c:pt>
                <c:pt idx="60">
                  <c:v>593.97660337213415</c:v>
                </c:pt>
                <c:pt idx="61">
                  <c:v>615.31932405579573</c:v>
                </c:pt>
                <c:pt idx="62">
                  <c:v>636.98040280232681</c:v>
                </c:pt>
                <c:pt idx="63">
                  <c:v>658.93795168783799</c:v>
                </c:pt>
                <c:pt idx="64">
                  <c:v>681.17368255908491</c:v>
                </c:pt>
                <c:pt idx="65">
                  <c:v>703.66850038923803</c:v>
                </c:pt>
                <c:pt idx="66">
                  <c:v>726.40264065268116</c:v>
                </c:pt>
                <c:pt idx="67">
                  <c:v>749.35515083598034</c:v>
                </c:pt>
                <c:pt idx="68">
                  <c:v>772.50403363513135</c:v>
                </c:pt>
                <c:pt idx="69">
                  <c:v>795.82633890762111</c:v>
                </c:pt>
                <c:pt idx="70">
                  <c:v>819.29827882531856</c:v>
                </c:pt>
                <c:pt idx="71">
                  <c:v>842.89530988317938</c:v>
                </c:pt>
                <c:pt idx="72">
                  <c:v>866.59247556863318</c:v>
                </c:pt>
                <c:pt idx="73">
                  <c:v>890.36452963865304</c:v>
                </c:pt>
                <c:pt idx="74">
                  <c:v>914.18597020783443</c:v>
                </c:pt>
                <c:pt idx="75">
                  <c:v>938.03108843339089</c:v>
                </c:pt>
                <c:pt idx="76">
                  <c:v>961.87410481518225</c:v>
                </c:pt>
                <c:pt idx="77">
                  <c:v>985.68924972587627</c:v>
                </c:pt>
                <c:pt idx="78">
                  <c:v>1009.4509025530955</c:v>
                </c:pt>
                <c:pt idx="79">
                  <c:v>1033.133713693712</c:v>
                </c:pt>
                <c:pt idx="80">
                  <c:v>1056.7127276999713</c:v>
                </c:pt>
                <c:pt idx="81">
                  <c:v>1080.1634759306539</c:v>
                </c:pt>
                <c:pt idx="82">
                  <c:v>1103.4620380137562</c:v>
                </c:pt>
                <c:pt idx="83">
                  <c:v>1126.5851346845832</c:v>
                </c:pt>
                <c:pt idx="84">
                  <c:v>1149.5102059499291</c:v>
                </c:pt>
                <c:pt idx="85">
                  <c:v>1172.2154870234658</c:v>
                </c:pt>
                <c:pt idx="86">
                  <c:v>1194.6800734235162</c:v>
                </c:pt>
                <c:pt idx="87">
                  <c:v>1216.8839935615738</c:v>
                </c:pt>
                <c:pt idx="88">
                  <c:v>1238.808270480487</c:v>
                </c:pt>
                <c:pt idx="89">
                  <c:v>1260.4349642084337</c:v>
                </c:pt>
                <c:pt idx="90">
                  <c:v>1281.7472023789769</c:v>
                </c:pt>
                <c:pt idx="91">
                  <c:v>1302.7292185583392</c:v>
                </c:pt>
                <c:pt idx="92">
                  <c:v>1323.3663772989134</c:v>
                </c:pt>
                <c:pt idx="93">
                  <c:v>1343.6451936849737</c:v>
                </c:pt>
                <c:pt idx="94">
                  <c:v>1363.5533445974206</c:v>
                </c:pt>
                <c:pt idx="95">
                  <c:v>1383.07967950332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276.80700910783912</c:v>
                </c:pt>
                <c:pt idx="43">
                  <c:v>291.09116304429403</c:v>
                </c:pt>
                <c:pt idx="44">
                  <c:v>305.84427727143327</c:v>
                </c:pt>
                <c:pt idx="45">
                  <c:v>321.01783538283223</c:v>
                </c:pt>
                <c:pt idx="46">
                  <c:v>336.91746918592628</c:v>
                </c:pt>
                <c:pt idx="47">
                  <c:v>353.42397663413175</c:v>
                </c:pt>
                <c:pt idx="48">
                  <c:v>370.63146943026652</c:v>
                </c:pt>
                <c:pt idx="49">
                  <c:v>388.43219211266194</c:v>
                </c:pt>
                <c:pt idx="50">
                  <c:v>406.79754990322493</c:v>
                </c:pt>
                <c:pt idx="51">
                  <c:v>425.78698169613767</c:v>
                </c:pt>
                <c:pt idx="52">
                  <c:v>445.40687834405503</c:v>
                </c:pt>
                <c:pt idx="53">
                  <c:v>465.72814383985605</c:v>
                </c:pt>
                <c:pt idx="54">
                  <c:v>486.68751828573386</c:v>
                </c:pt>
                <c:pt idx="55">
                  <c:v>508.29261437755315</c:v>
                </c:pt>
                <c:pt idx="56">
                  <c:v>530.53680552751939</c:v>
                </c:pt>
                <c:pt idx="57">
                  <c:v>553.42833701344603</c:v>
                </c:pt>
                <c:pt idx="58">
                  <c:v>576.94095182574824</c:v>
                </c:pt>
                <c:pt idx="59">
                  <c:v>601.0580003137195</c:v>
                </c:pt>
                <c:pt idx="60">
                  <c:v>625.77265351417327</c:v>
                </c:pt>
                <c:pt idx="61">
                  <c:v>651.11724687526703</c:v>
                </c:pt>
                <c:pt idx="62">
                  <c:v>677.05191093531653</c:v>
                </c:pt>
                <c:pt idx="63">
                  <c:v>703.5535610204056</c:v>
                </c:pt>
                <c:pt idx="64">
                  <c:v>730.60116719021573</c:v>
                </c:pt>
                <c:pt idx="65">
                  <c:v>758.17154740004753</c:v>
                </c:pt>
                <c:pt idx="66">
                  <c:v>786.23953476844781</c:v>
                </c:pt>
                <c:pt idx="67">
                  <c:v>814.77727926372711</c:v>
                </c:pt>
                <c:pt idx="68">
                  <c:v>843.75444034603265</c:v>
                </c:pt>
                <c:pt idx="69">
                  <c:v>873.13831232269001</c:v>
                </c:pt>
                <c:pt idx="70">
                  <c:v>902.89399499134163</c:v>
                </c:pt>
                <c:pt idx="71">
                  <c:v>932.98452712341748</c:v>
                </c:pt>
                <c:pt idx="72">
                  <c:v>963.37138960418679</c:v>
                </c:pt>
                <c:pt idx="73">
                  <c:v>994.0147191017885</c:v>
                </c:pt>
                <c:pt idx="74">
                  <c:v>1024.8734137638933</c:v>
                </c:pt>
                <c:pt idx="75">
                  <c:v>1055.9052712269204</c:v>
                </c:pt>
                <c:pt idx="76">
                  <c:v>1087.0672519757995</c:v>
                </c:pt>
                <c:pt idx="77">
                  <c:v>1118.3156743914831</c:v>
                </c:pt>
                <c:pt idx="78">
                  <c:v>1149.6064944175052</c:v>
                </c:pt>
                <c:pt idx="79">
                  <c:v>1180.8955664568011</c:v>
                </c:pt>
                <c:pt idx="80">
                  <c:v>1212.1389102328915</c:v>
                </c:pt>
                <c:pt idx="81">
                  <c:v>1243.2929377925816</c:v>
                </c:pt>
                <c:pt idx="82">
                  <c:v>1274.314639383741</c:v>
                </c:pt>
                <c:pt idx="83">
                  <c:v>1305.1618103472201</c:v>
                </c:pt>
                <c:pt idx="84">
                  <c:v>1335.7932552224859</c:v>
                </c:pt>
                <c:pt idx="85">
                  <c:v>1366.1689854604608</c:v>
                </c:pt>
                <c:pt idx="86">
                  <c:v>1396.2503973439914</c:v>
                </c:pt>
                <c:pt idx="87">
                  <c:v>1426.0004541898402</c:v>
                </c:pt>
                <c:pt idx="88">
                  <c:v>1455.3838467685657</c:v>
                </c:pt>
                <c:pt idx="89">
                  <c:v>1484.367120279102</c:v>
                </c:pt>
                <c:pt idx="90">
                  <c:v>1512.918777414927</c:v>
                </c:pt>
                <c:pt idx="91">
                  <c:v>1541.0093831158449</c:v>
                </c:pt>
                <c:pt idx="92">
                  <c:v>1568.6116425805726</c:v>
                </c:pt>
                <c:pt idx="93">
                  <c:v>1595.7004629358614</c:v>
                </c:pt>
                <c:pt idx="94">
                  <c:v>1622.2529948471104</c:v>
                </c:pt>
                <c:pt idx="95">
                  <c:v>1648.24866489019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10</c:v>
                </c:pt>
                <c:pt idx="1">
                  <c:v>11</c:v>
                </c:pt>
                <c:pt idx="2">
                  <c:v>12</c:v>
                </c:pt>
                <c:pt idx="3">
                  <c:v>12</c:v>
                </c:pt>
                <c:pt idx="4">
                  <c:v>17</c:v>
                </c:pt>
                <c:pt idx="5">
                  <c:v>17</c:v>
                </c:pt>
                <c:pt idx="6">
                  <c:v>17</c:v>
                </c:pt>
                <c:pt idx="7">
                  <c:v>17</c:v>
                </c:pt>
                <c:pt idx="8">
                  <c:v>18</c:v>
                </c:pt>
                <c:pt idx="9">
                  <c:v>18</c:v>
                </c:pt>
                <c:pt idx="10">
                  <c:v>23</c:v>
                </c:pt>
                <c:pt idx="11">
                  <c:v>23</c:v>
                </c:pt>
                <c:pt idx="12">
                  <c:v>23</c:v>
                </c:pt>
                <c:pt idx="13">
                  <c:v>25</c:v>
                </c:pt>
                <c:pt idx="14">
                  <c:v>25</c:v>
                </c:pt>
                <c:pt idx="15">
                  <c:v>29</c:v>
                </c:pt>
                <c:pt idx="16">
                  <c:v>31</c:v>
                </c:pt>
                <c:pt idx="17">
                  <c:v>32</c:v>
                </c:pt>
                <c:pt idx="18">
                  <c:v>33</c:v>
                </c:pt>
                <c:pt idx="19">
                  <c:v>35</c:v>
                </c:pt>
                <c:pt idx="20">
                  <c:v>37</c:v>
                </c:pt>
                <c:pt idx="21">
                  <c:v>39</c:v>
                </c:pt>
                <c:pt idx="22">
                  <c:v>40</c:v>
                </c:pt>
                <c:pt idx="23">
                  <c:v>44</c:v>
                </c:pt>
                <c:pt idx="24">
                  <c:v>45</c:v>
                </c:pt>
                <c:pt idx="25">
                  <c:v>47</c:v>
                </c:pt>
                <c:pt idx="26">
                  <c:v>55</c:v>
                </c:pt>
                <c:pt idx="27">
                  <c:v>59</c:v>
                </c:pt>
                <c:pt idx="28">
                  <c:v>63</c:v>
                </c:pt>
                <c:pt idx="29">
                  <c:v>66</c:v>
                </c:pt>
                <c:pt idx="30">
                  <c:v>67</c:v>
                </c:pt>
                <c:pt idx="31">
                  <c:v>74</c:v>
                </c:pt>
                <c:pt idx="32">
                  <c:v>80</c:v>
                </c:pt>
                <c:pt idx="33">
                  <c:v>85</c:v>
                </c:pt>
                <c:pt idx="34">
                  <c:v>92</c:v>
                </c:pt>
                <c:pt idx="35">
                  <c:v>97</c:v>
                </c:pt>
                <c:pt idx="36">
                  <c:v>102</c:v>
                </c:pt>
                <c:pt idx="37">
                  <c:v>106</c:v>
                </c:pt>
                <c:pt idx="38">
                  <c:v>110</c:v>
                </c:pt>
                <c:pt idx="39">
                  <c:v>113</c:v>
                </c:pt>
                <c:pt idx="40">
                  <c:v>115</c:v>
                </c:pt>
                <c:pt idx="41">
                  <c:v>118</c:v>
                </c:pt>
                <c:pt idx="42">
                  <c:v>128</c:v>
                </c:pt>
                <c:pt idx="43">
                  <c:v>133</c:v>
                </c:pt>
                <c:pt idx="44">
                  <c:v>140</c:v>
                </c:pt>
                <c:pt idx="45">
                  <c:v>144</c:v>
                </c:pt>
                <c:pt idx="46">
                  <c:v>1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22.96741086783481</c:v>
                </c:pt>
                <c:pt idx="43">
                  <c:v>129.05626897833417</c:v>
                </c:pt>
                <c:pt idx="44">
                  <c:v>135.25379533482982</c:v>
                </c:pt>
                <c:pt idx="45">
                  <c:v>141.52698413031814</c:v>
                </c:pt>
                <c:pt idx="46">
                  <c:v>147.99144999469044</c:v>
                </c:pt>
                <c:pt idx="47">
                  <c:v>154.58796549747845</c:v>
                </c:pt>
                <c:pt idx="48">
                  <c:v>161.36007037600069</c:v>
                </c:pt>
                <c:pt idx="49">
                  <c:v>168.24034685244453</c:v>
                </c:pt>
                <c:pt idx="50">
                  <c:v>175.19890745522514</c:v>
                </c:pt>
                <c:pt idx="51">
                  <c:v>182.26460278741138</c:v>
                </c:pt>
                <c:pt idx="52">
                  <c:v>189.44025063264559</c:v>
                </c:pt>
                <c:pt idx="53">
                  <c:v>196.73484827625072</c:v>
                </c:pt>
                <c:pt idx="54">
                  <c:v>204.10989270466342</c:v>
                </c:pt>
                <c:pt idx="55">
                  <c:v>211.57084443499434</c:v>
                </c:pt>
                <c:pt idx="56">
                  <c:v>219.11291567756541</c:v>
                </c:pt>
                <c:pt idx="57">
                  <c:v>226.73715773348144</c:v>
                </c:pt>
                <c:pt idx="58">
                  <c:v>234.4249474570164</c:v>
                </c:pt>
                <c:pt idx="59">
                  <c:v>242.17011956644592</c:v>
                </c:pt>
                <c:pt idx="60">
                  <c:v>249.96807976096676</c:v>
                </c:pt>
                <c:pt idx="61">
                  <c:v>257.82770150897562</c:v>
                </c:pt>
                <c:pt idx="62">
                  <c:v>265.73480685961363</c:v>
                </c:pt>
                <c:pt idx="63">
                  <c:v>273.68152124166716</c:v>
                </c:pt>
                <c:pt idx="64">
                  <c:v>281.66143760175828</c:v>
                </c:pt>
                <c:pt idx="65">
                  <c:v>289.66815354663157</c:v>
                </c:pt>
                <c:pt idx="66">
                  <c:v>297.69530398152955</c:v>
                </c:pt>
                <c:pt idx="67">
                  <c:v>305.73638768664898</c:v>
                </c:pt>
                <c:pt idx="68">
                  <c:v>313.78479965374538</c:v>
                </c:pt>
                <c:pt idx="69">
                  <c:v>321.83385768691363</c:v>
                </c:pt>
                <c:pt idx="70">
                  <c:v>329.87683363286607</c:v>
                </c:pt>
                <c:pt idx="71">
                  <c:v>337.90697542533468</c:v>
                </c:pt>
                <c:pt idx="72">
                  <c:v>345.91759959155524</c:v>
                </c:pt>
                <c:pt idx="73">
                  <c:v>353.90211835387481</c:v>
                </c:pt>
                <c:pt idx="74">
                  <c:v>361.85403699267761</c:v>
                </c:pt>
                <c:pt idx="75">
                  <c:v>369.76695619273085</c:v>
                </c:pt>
                <c:pt idx="76">
                  <c:v>377.63459768351527</c:v>
                </c:pt>
                <c:pt idx="77">
                  <c:v>385.4508138099518</c:v>
                </c:pt>
                <c:pt idx="78">
                  <c:v>393.20961665970952</c:v>
                </c:pt>
                <c:pt idx="79">
                  <c:v>400.9052008989301</c:v>
                </c:pt>
                <c:pt idx="80">
                  <c:v>408.53196371143446</c:v>
                </c:pt>
                <c:pt idx="81">
                  <c:v>416.08451598846096</c:v>
                </c:pt>
                <c:pt idx="82">
                  <c:v>423.55768725722822</c:v>
                </c:pt>
                <c:pt idx="83">
                  <c:v>430.94653823186547</c:v>
                </c:pt>
                <c:pt idx="84">
                  <c:v>438.24636887831105</c:v>
                </c:pt>
                <c:pt idx="85">
                  <c:v>445.45272653459301</c:v>
                </c:pt>
                <c:pt idx="86">
                  <c:v>452.56141194320787</c:v>
                </c:pt>
                <c:pt idx="87">
                  <c:v>459.56848745224283</c:v>
                </c:pt>
                <c:pt idx="88">
                  <c:v>466.47028256193596</c:v>
                </c:pt>
                <c:pt idx="89">
                  <c:v>473.26339567893939</c:v>
                </c:pt>
                <c:pt idx="90">
                  <c:v>479.94469357819514</c:v>
                </c:pt>
                <c:pt idx="91">
                  <c:v>486.51131320581084</c:v>
                </c:pt>
                <c:pt idx="92">
                  <c:v>492.96066076818209</c:v>
                </c:pt>
                <c:pt idx="93">
                  <c:v>499.29041018479876</c:v>
                </c:pt>
                <c:pt idx="94">
                  <c:v>505.49850028386305</c:v>
                </c:pt>
                <c:pt idx="95">
                  <c:v>511.583137295887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23.04388423160903</c:v>
                </c:pt>
                <c:pt idx="43">
                  <c:v>129.24479148265132</c:v>
                </c:pt>
                <c:pt idx="44">
                  <c:v>135.59605162508035</c:v>
                </c:pt>
                <c:pt idx="45">
                  <c:v>142.070702975877</c:v>
                </c:pt>
                <c:pt idx="46">
                  <c:v>148.7901086341399</c:v>
                </c:pt>
                <c:pt idx="47">
                  <c:v>155.7009245982369</c:v>
                </c:pt>
                <c:pt idx="48">
                  <c:v>162.85212370203269</c:v>
                </c:pt>
                <c:pt idx="49">
                  <c:v>170.18143601749708</c:v>
                </c:pt>
                <c:pt idx="50">
                  <c:v>177.66361376364966</c:v>
                </c:pt>
                <c:pt idx="51">
                  <c:v>185.33150840661031</c:v>
                </c:pt>
                <c:pt idx="52">
                  <c:v>193.19160029522698</c:v>
                </c:pt>
                <c:pt idx="53">
                  <c:v>201.25612398952055</c:v>
                </c:pt>
                <c:pt idx="54">
                  <c:v>209.48963076903294</c:v>
                </c:pt>
                <c:pt idx="55">
                  <c:v>217.89998925928916</c:v>
                </c:pt>
                <c:pt idx="56">
                  <c:v>226.48435466791452</c:v>
                </c:pt>
                <c:pt idx="57">
                  <c:v>235.24529391061071</c:v>
                </c:pt>
                <c:pt idx="58">
                  <c:v>244.16533018636892</c:v>
                </c:pt>
                <c:pt idx="59">
                  <c:v>253.23900975301004</c:v>
                </c:pt>
                <c:pt idx="60">
                  <c:v>262.46200721399305</c:v>
                </c:pt>
                <c:pt idx="61">
                  <c:v>271.84303199527881</c:v>
                </c:pt>
                <c:pt idx="62">
                  <c:v>281.36741306046855</c:v>
                </c:pt>
                <c:pt idx="63">
                  <c:v>291.02630495650703</c:v>
                </c:pt>
                <c:pt idx="64">
                  <c:v>300.81187951565141</c:v>
                </c:pt>
                <c:pt idx="65">
                  <c:v>310.7159420761742</c:v>
                </c:pt>
                <c:pt idx="66">
                  <c:v>320.72998502515895</c:v>
                </c:pt>
                <c:pt idx="67">
                  <c:v>330.84496045382377</c:v>
                </c:pt>
                <c:pt idx="68">
                  <c:v>341.05133431888879</c:v>
                </c:pt>
                <c:pt idx="69">
                  <c:v>351.33913038017954</c:v>
                </c:pt>
                <c:pt idx="70">
                  <c:v>361.69798362130535</c:v>
                </c:pt>
                <c:pt idx="71">
                  <c:v>372.11718134985631</c:v>
                </c:pt>
                <c:pt idx="72">
                  <c:v>382.58580707131568</c:v>
                </c:pt>
                <c:pt idx="73">
                  <c:v>393.09279343463913</c:v>
                </c:pt>
                <c:pt idx="74">
                  <c:v>403.62693624314676</c:v>
                </c:pt>
                <c:pt idx="75">
                  <c:v>414.17691817414988</c:v>
                </c:pt>
                <c:pt idx="76">
                  <c:v>424.73136588563654</c:v>
                </c:pt>
                <c:pt idx="77">
                  <c:v>435.27888576375358</c:v>
                </c:pt>
                <c:pt idx="78">
                  <c:v>445.80812759698546</c:v>
                </c:pt>
                <c:pt idx="79">
                  <c:v>456.30784010331291</c:v>
                </c:pt>
                <c:pt idx="80">
                  <c:v>466.76692328499172</c:v>
                </c:pt>
                <c:pt idx="81">
                  <c:v>477.17446871092085</c:v>
                </c:pt>
                <c:pt idx="82">
                  <c:v>487.51979113849666</c:v>
                </c:pt>
                <c:pt idx="83">
                  <c:v>497.7924704081646</c:v>
                </c:pt>
                <c:pt idx="84">
                  <c:v>507.9823864717751</c:v>
                </c:pt>
                <c:pt idx="85">
                  <c:v>518.07975394447817</c:v>
                </c:pt>
                <c:pt idx="86">
                  <c:v>528.07515274179093</c:v>
                </c:pt>
                <c:pt idx="87">
                  <c:v>537.95956069668352</c:v>
                </c:pt>
                <c:pt idx="88">
                  <c:v>547.72438113004569</c:v>
                </c:pt>
                <c:pt idx="89">
                  <c:v>557.36146385126597</c:v>
                </c:pt>
                <c:pt idx="90">
                  <c:v>566.86312151922721</c:v>
                </c:pt>
                <c:pt idx="91">
                  <c:v>576.22214766902528</c:v>
                </c:pt>
                <c:pt idx="92">
                  <c:v>585.4318293280412</c:v>
                </c:pt>
                <c:pt idx="93">
                  <c:v>594.48595707096126</c:v>
                </c:pt>
                <c:pt idx="94">
                  <c:v>603.37883162508615</c:v>
                </c:pt>
                <c:pt idx="95">
                  <c:v>612.105269571750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23.12079188684737</c:v>
                </c:pt>
                <c:pt idx="43">
                  <c:v>129.43492002256309</c:v>
                </c:pt>
                <c:pt idx="44">
                  <c:v>135.94236945984647</c:v>
                </c:pt>
                <c:pt idx="45">
                  <c:v>142.62292039905896</c:v>
                </c:pt>
                <c:pt idx="46">
                  <c:v>149.60452775468715</c:v>
                </c:pt>
                <c:pt idx="47">
                  <c:v>156.84071474268723</c:v>
                </c:pt>
                <c:pt idx="48">
                  <c:v>164.38700233334552</c:v>
                </c:pt>
                <c:pt idx="49">
                  <c:v>172.18750813926232</c:v>
                </c:pt>
                <c:pt idx="50">
                  <c:v>180.22297419806893</c:v>
                </c:pt>
                <c:pt idx="51">
                  <c:v>188.53170012375125</c:v>
                </c:pt>
                <c:pt idx="52">
                  <c:v>197.12535397009751</c:v>
                </c:pt>
                <c:pt idx="53">
                  <c:v>206.02098352238625</c:v>
                </c:pt>
                <c:pt idx="54">
                  <c:v>215.18779771789676</c:v>
                </c:pt>
                <c:pt idx="55">
                  <c:v>224.63767830563256</c:v>
                </c:pt>
                <c:pt idx="56">
                  <c:v>234.37131263616916</c:v>
                </c:pt>
                <c:pt idx="57">
                  <c:v>244.39432490776974</c:v>
                </c:pt>
                <c:pt idx="58">
                  <c:v>254.69185747218449</c:v>
                </c:pt>
                <c:pt idx="59">
                  <c:v>265.26054626372752</c:v>
                </c:pt>
                <c:pt idx="60">
                  <c:v>276.09758514801001</c:v>
                </c:pt>
                <c:pt idx="61">
                  <c:v>287.21261699907222</c:v>
                </c:pt>
                <c:pt idx="62">
                  <c:v>298.59139679139275</c:v>
                </c:pt>
                <c:pt idx="63">
                  <c:v>310.22482919847846</c:v>
                </c:pt>
                <c:pt idx="64">
                  <c:v>322.10416853724269</c:v>
                </c:pt>
                <c:pt idx="65">
                  <c:v>334.21971085494954</c:v>
                </c:pt>
                <c:pt idx="66">
                  <c:v>346.56085565723549</c:v>
                </c:pt>
                <c:pt idx="67">
                  <c:v>359.11579829027255</c:v>
                </c:pt>
                <c:pt idx="68">
                  <c:v>371.87160045650404</c:v>
                </c:pt>
                <c:pt idx="69">
                  <c:v>384.81424781079158</c:v>
                </c:pt>
                <c:pt idx="70">
                  <c:v>397.92872648143538</c:v>
                </c:pt>
                <c:pt idx="71">
                  <c:v>411.19908668818755</c:v>
                </c:pt>
                <c:pt idx="72">
                  <c:v>424.60865227874763</c:v>
                </c:pt>
                <c:pt idx="73">
                  <c:v>438.14011106295129</c:v>
                </c:pt>
                <c:pt idx="74">
                  <c:v>451.77555817590326</c:v>
                </c:pt>
                <c:pt idx="75">
                  <c:v>465.49655801112334</c:v>
                </c:pt>
                <c:pt idx="76">
                  <c:v>479.28425467669297</c:v>
                </c:pt>
                <c:pt idx="77">
                  <c:v>493.11945696114987</c:v>
                </c:pt>
                <c:pt idx="78">
                  <c:v>506.98276361188903</c:v>
                </c:pt>
                <c:pt idx="79">
                  <c:v>520.85467983553178</c:v>
                </c:pt>
                <c:pt idx="80">
                  <c:v>534.71573168854775</c:v>
                </c:pt>
                <c:pt idx="81">
                  <c:v>548.54656517670151</c:v>
                </c:pt>
                <c:pt idx="82">
                  <c:v>562.32803423087012</c:v>
                </c:pt>
                <c:pt idx="83">
                  <c:v>576.04130224967821</c:v>
                </c:pt>
                <c:pt idx="84">
                  <c:v>589.66793345854467</c:v>
                </c:pt>
                <c:pt idx="85">
                  <c:v>603.18998239459961</c:v>
                </c:pt>
                <c:pt idx="86">
                  <c:v>616.59007610204276</c:v>
                </c:pt>
                <c:pt idx="87">
                  <c:v>629.85149659539877</c:v>
                </c:pt>
                <c:pt idx="88">
                  <c:v>642.95825360086235</c:v>
                </c:pt>
                <c:pt idx="89">
                  <c:v>655.89514535019077</c:v>
                </c:pt>
                <c:pt idx="90">
                  <c:v>668.64780967693832</c:v>
                </c:pt>
                <c:pt idx="91">
                  <c:v>681.20277363427908</c:v>
                </c:pt>
                <c:pt idx="92">
                  <c:v>693.5474919832734</c:v>
                </c:pt>
                <c:pt idx="93">
                  <c:v>705.67037832304243</c:v>
                </c:pt>
                <c:pt idx="94">
                  <c:v>717.56082764481732</c:v>
                </c:pt>
                <c:pt idx="95">
                  <c:v>729.209233832641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8</c:v>
                </c:pt>
                <c:pt idx="1">
                  <c:v>9</c:v>
                </c:pt>
                <c:pt idx="2">
                  <c:v>9</c:v>
                </c:pt>
                <c:pt idx="3">
                  <c:v>10</c:v>
                </c:pt>
                <c:pt idx="4">
                  <c:v>11</c:v>
                </c:pt>
                <c:pt idx="5">
                  <c:v>12</c:v>
                </c:pt>
                <c:pt idx="6">
                  <c:v>13</c:v>
                </c:pt>
                <c:pt idx="7">
                  <c:v>13</c:v>
                </c:pt>
                <c:pt idx="8">
                  <c:v>13</c:v>
                </c:pt>
                <c:pt idx="9">
                  <c:v>14</c:v>
                </c:pt>
                <c:pt idx="10">
                  <c:v>17</c:v>
                </c:pt>
                <c:pt idx="11">
                  <c:v>18</c:v>
                </c:pt>
                <c:pt idx="12">
                  <c:v>18</c:v>
                </c:pt>
                <c:pt idx="13">
                  <c:v>19</c:v>
                </c:pt>
                <c:pt idx="14">
                  <c:v>21</c:v>
                </c:pt>
                <c:pt idx="15">
                  <c:v>23</c:v>
                </c:pt>
                <c:pt idx="16">
                  <c:v>24</c:v>
                </c:pt>
                <c:pt idx="17">
                  <c:v>25</c:v>
                </c:pt>
                <c:pt idx="18">
                  <c:v>25</c:v>
                </c:pt>
                <c:pt idx="19">
                  <c:v>29</c:v>
                </c:pt>
                <c:pt idx="20">
                  <c:v>31</c:v>
                </c:pt>
                <c:pt idx="21">
                  <c:v>36</c:v>
                </c:pt>
                <c:pt idx="22">
                  <c:v>39</c:v>
                </c:pt>
                <c:pt idx="23">
                  <c:v>40</c:v>
                </c:pt>
                <c:pt idx="24">
                  <c:v>43</c:v>
                </c:pt>
                <c:pt idx="25">
                  <c:v>44</c:v>
                </c:pt>
                <c:pt idx="26">
                  <c:v>46</c:v>
                </c:pt>
                <c:pt idx="27">
                  <c:v>48</c:v>
                </c:pt>
                <c:pt idx="28">
                  <c:v>48</c:v>
                </c:pt>
                <c:pt idx="29">
                  <c:v>48</c:v>
                </c:pt>
                <c:pt idx="30">
                  <c:v>53</c:v>
                </c:pt>
                <c:pt idx="31">
                  <c:v>55</c:v>
                </c:pt>
                <c:pt idx="32">
                  <c:v>58</c:v>
                </c:pt>
                <c:pt idx="33">
                  <c:v>61</c:v>
                </c:pt>
                <c:pt idx="34">
                  <c:v>62</c:v>
                </c:pt>
                <c:pt idx="35">
                  <c:v>70</c:v>
                </c:pt>
                <c:pt idx="36">
                  <c:v>73</c:v>
                </c:pt>
                <c:pt idx="37">
                  <c:v>78</c:v>
                </c:pt>
                <c:pt idx="38">
                  <c:v>83</c:v>
                </c:pt>
                <c:pt idx="39">
                  <c:v>91</c:v>
                </c:pt>
                <c:pt idx="40">
                  <c:v>97</c:v>
                </c:pt>
                <c:pt idx="41">
                  <c:v>101</c:v>
                </c:pt>
                <c:pt idx="42">
                  <c:v>105</c:v>
                </c:pt>
                <c:pt idx="43">
                  <c:v>110</c:v>
                </c:pt>
                <c:pt idx="44">
                  <c:v>117</c:v>
                </c:pt>
                <c:pt idx="45">
                  <c:v>126</c:v>
                </c:pt>
                <c:pt idx="46">
                  <c:v>1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06.11807201326764</c:v>
                </c:pt>
                <c:pt idx="43">
                  <c:v>111.34766452048406</c:v>
                </c:pt>
                <c:pt idx="44">
                  <c:v>116.67581313629624</c:v>
                </c:pt>
                <c:pt idx="45">
                  <c:v>122.07338816082319</c:v>
                </c:pt>
                <c:pt idx="46">
                  <c:v>127.64330396212723</c:v>
                </c:pt>
                <c:pt idx="47">
                  <c:v>133.33138840436141</c:v>
                </c:pt>
                <c:pt idx="48">
                  <c:v>139.16805710766099</c:v>
                </c:pt>
                <c:pt idx="49">
                  <c:v>145.09958394436745</c:v>
                </c:pt>
                <c:pt idx="50">
                  <c:v>151.103686565028</c:v>
                </c:pt>
                <c:pt idx="51">
                  <c:v>157.19917132953171</c:v>
                </c:pt>
                <c:pt idx="52">
                  <c:v>163.3841196377364</c:v>
                </c:pt>
                <c:pt idx="53">
                  <c:v>169.67370288923146</c:v>
                </c:pt>
                <c:pt idx="54">
                  <c:v>176.03638300714886</c:v>
                </c:pt>
                <c:pt idx="55">
                  <c:v>182.47272371955407</c:v>
                </c:pt>
                <c:pt idx="56">
                  <c:v>188.97699931368268</c:v>
                </c:pt>
                <c:pt idx="57">
                  <c:v>195.54935998986883</c:v>
                </c:pt>
                <c:pt idx="58">
                  <c:v>202.17569623941881</c:v>
                </c:pt>
                <c:pt idx="59">
                  <c:v>208.84894123382685</c:v>
                </c:pt>
                <c:pt idx="60">
                  <c:v>215.56529308974686</c:v>
                </c:pt>
                <c:pt idx="61">
                  <c:v>222.3349898827737</c:v>
                </c:pt>
                <c:pt idx="62">
                  <c:v>229.14435065355519</c:v>
                </c:pt>
                <c:pt idx="63">
                  <c:v>235.98628158198687</c:v>
                </c:pt>
                <c:pt idx="64">
                  <c:v>242.8552443402701</c:v>
                </c:pt>
                <c:pt idx="65">
                  <c:v>249.74570787819786</c:v>
                </c:pt>
                <c:pt idx="66">
                  <c:v>256.65217828584753</c:v>
                </c:pt>
                <c:pt idx="67">
                  <c:v>263.56904883341679</c:v>
                </c:pt>
                <c:pt idx="68">
                  <c:v>270.4906306628904</c:v>
                </c:pt>
                <c:pt idx="69">
                  <c:v>277.41117412741181</c:v>
                </c:pt>
                <c:pt idx="70">
                  <c:v>284.32489441111466</c:v>
                </c:pt>
                <c:pt idx="71">
                  <c:v>291.22598857549241</c:v>
                </c:pt>
                <c:pt idx="72">
                  <c:v>298.10871740246262</c:v>
                </c:pt>
                <c:pt idx="73">
                  <c:v>304.96742905009182</c:v>
                </c:pt>
                <c:pt idx="74">
                  <c:v>311.79655698247467</c:v>
                </c:pt>
                <c:pt idx="75">
                  <c:v>318.59062092450381</c:v>
                </c:pt>
                <c:pt idx="76">
                  <c:v>325.34424985622582</c:v>
                </c:pt>
                <c:pt idx="77">
                  <c:v>332.05219004531136</c:v>
                </c:pt>
                <c:pt idx="78">
                  <c:v>338.70932917860716</c:v>
                </c:pt>
                <c:pt idx="79">
                  <c:v>345.31071531876978</c:v>
                </c:pt>
                <c:pt idx="80">
                  <c:v>351.85157472779713</c:v>
                </c:pt>
                <c:pt idx="81">
                  <c:v>358.32732174579502</c:v>
                </c:pt>
                <c:pt idx="82">
                  <c:v>364.73356140823574</c:v>
                </c:pt>
                <c:pt idx="83">
                  <c:v>371.06609995358315</c:v>
                </c:pt>
                <c:pt idx="84">
                  <c:v>377.32095169085699</c:v>
                </c:pt>
                <c:pt idx="85">
                  <c:v>383.49434576078863</c:v>
                </c:pt>
                <c:pt idx="86">
                  <c:v>389.58273082753726</c:v>
                </c:pt>
                <c:pt idx="87">
                  <c:v>395.58278212028966</c:v>
                </c:pt>
                <c:pt idx="88">
                  <c:v>401.49140632824731</c:v>
                </c:pt>
                <c:pt idx="89">
                  <c:v>407.30574252132658</c:v>
                </c:pt>
                <c:pt idx="90">
                  <c:v>413.02316091695178</c:v>
                </c:pt>
                <c:pt idx="91">
                  <c:v>418.64126431345102</c:v>
                </c:pt>
                <c:pt idx="92">
                  <c:v>424.15788703664435</c:v>
                </c:pt>
                <c:pt idx="93">
                  <c:v>429.57109339270147</c:v>
                </c:pt>
                <c:pt idx="94">
                  <c:v>434.87917496713828</c:v>
                </c:pt>
                <c:pt idx="95">
                  <c:v>440.080653582498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06.18590145472879</c:v>
                </c:pt>
                <c:pt idx="43">
                  <c:v>111.51480183938251</c:v>
                </c:pt>
                <c:pt idx="44">
                  <c:v>116.97905962696244</c:v>
                </c:pt>
                <c:pt idx="45">
                  <c:v>122.55479835341839</c:v>
                </c:pt>
                <c:pt idx="46">
                  <c:v>128.34992148833135</c:v>
                </c:pt>
                <c:pt idx="47">
                  <c:v>134.31535713878895</c:v>
                </c:pt>
                <c:pt idx="48">
                  <c:v>140.48617435519753</c:v>
                </c:pt>
                <c:pt idx="49">
                  <c:v>146.81302814287309</c:v>
                </c:pt>
                <c:pt idx="50">
                  <c:v>153.27758188332356</c:v>
                </c:pt>
                <c:pt idx="51">
                  <c:v>159.90203461630981</c:v>
                </c:pt>
                <c:pt idx="52">
                  <c:v>166.68754599167133</c:v>
                </c:pt>
                <c:pt idx="53">
                  <c:v>173.65196375268752</c:v>
                </c:pt>
                <c:pt idx="54">
                  <c:v>180.76630473810178</c:v>
                </c:pt>
                <c:pt idx="55">
                  <c:v>188.03311648192425</c:v>
                </c:pt>
                <c:pt idx="56">
                  <c:v>195.44823723815503</c:v>
                </c:pt>
                <c:pt idx="57">
                  <c:v>203.01300279490673</c:v>
                </c:pt>
                <c:pt idx="58">
                  <c:v>210.71416814923822</c:v>
                </c:pt>
                <c:pt idx="59">
                  <c:v>218.54516223396641</c:v>
                </c:pt>
                <c:pt idx="60">
                  <c:v>226.50230074181007</c:v>
                </c:pt>
                <c:pt idx="61">
                  <c:v>234.59556961590621</c:v>
                </c:pt>
                <c:pt idx="62">
                  <c:v>242.81077435151857</c:v>
                </c:pt>
                <c:pt idx="63">
                  <c:v>251.13988949224242</c:v>
                </c:pt>
                <c:pt idx="64">
                  <c:v>259.57605453952903</c:v>
                </c:pt>
                <c:pt idx="65">
                  <c:v>268.11209883120534</c:v>
                </c:pt>
                <c:pt idx="66">
                  <c:v>276.74059121245836</c:v>
                </c:pt>
                <c:pt idx="67">
                  <c:v>285.45364361803104</c:v>
                </c:pt>
                <c:pt idx="68">
                  <c:v>294.24296226379352</c:v>
                </c:pt>
                <c:pt idx="69">
                  <c:v>303.09988376239573</c:v>
                </c:pt>
                <c:pt idx="70">
                  <c:v>312.01541978367834</c:v>
                </c:pt>
                <c:pt idx="71">
                  <c:v>320.98028994273761</c:v>
                </c:pt>
                <c:pt idx="72">
                  <c:v>329.98504935348984</c:v>
                </c:pt>
                <c:pt idx="73">
                  <c:v>339.02013493683728</c:v>
                </c:pt>
                <c:pt idx="74">
                  <c:v>348.07587800269926</c:v>
                </c:pt>
                <c:pt idx="75">
                  <c:v>357.14252353346888</c:v>
                </c:pt>
                <c:pt idx="76">
                  <c:v>366.21028087697317</c:v>
                </c:pt>
                <c:pt idx="77">
                  <c:v>375.26935440826526</c:v>
                </c:pt>
                <c:pt idx="78">
                  <c:v>384.30999718389654</c:v>
                </c:pt>
                <c:pt idx="79">
                  <c:v>393.32255787765735</c:v>
                </c:pt>
                <c:pt idx="80">
                  <c:v>402.29752685022828</c:v>
                </c:pt>
                <c:pt idx="81">
                  <c:v>411.22557112653101</c:v>
                </c:pt>
                <c:pt idx="82">
                  <c:v>420.0975593341438</c:v>
                </c:pt>
                <c:pt idx="83">
                  <c:v>428.90459729342359</c:v>
                </c:pt>
                <c:pt idx="84">
                  <c:v>437.63805789573217</c:v>
                </c:pt>
                <c:pt idx="85">
                  <c:v>446.28961031470573</c:v>
                </c:pt>
                <c:pt idx="86">
                  <c:v>454.85124540845095</c:v>
                </c:pt>
                <c:pt idx="87">
                  <c:v>463.31530349743031</c:v>
                </c:pt>
                <c:pt idx="88">
                  <c:v>471.67449792958325</c:v>
                </c:pt>
                <c:pt idx="89">
                  <c:v>479.92193198558948</c:v>
                </c:pt>
                <c:pt idx="90">
                  <c:v>488.05111151801856</c:v>
                </c:pt>
                <c:pt idx="91">
                  <c:v>496.05595990324292</c:v>
                </c:pt>
                <c:pt idx="92">
                  <c:v>503.9308281099452</c:v>
                </c:pt>
                <c:pt idx="93">
                  <c:v>511.67050262940495</c:v>
                </c:pt>
                <c:pt idx="94">
                  <c:v>519.27021033293704</c:v>
                </c:pt>
                <c:pt idx="95">
                  <c:v>526.725622902975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06.25411585457287</c:v>
                </c:pt>
                <c:pt idx="43">
                  <c:v>111.68336298348133</c:v>
                </c:pt>
                <c:pt idx="44">
                  <c:v>117.28590658117623</c:v>
                </c:pt>
                <c:pt idx="45">
                  <c:v>123.04374040798399</c:v>
                </c:pt>
                <c:pt idx="46">
                  <c:v>129.07050089529156</c:v>
                </c:pt>
                <c:pt idx="47">
                  <c:v>135.32308182854106</c:v>
                </c:pt>
                <c:pt idx="48">
                  <c:v>141.84218408603078</c:v>
                </c:pt>
                <c:pt idx="49">
                  <c:v>148.58392896058908</c:v>
                </c:pt>
                <c:pt idx="50">
                  <c:v>155.53510400092497</c:v>
                </c:pt>
                <c:pt idx="51">
                  <c:v>162.72256029948005</c:v>
                </c:pt>
                <c:pt idx="52">
                  <c:v>170.15185889009942</c:v>
                </c:pt>
                <c:pt idx="53">
                  <c:v>177.84488693865671</c:v>
                </c:pt>
                <c:pt idx="54">
                  <c:v>185.7765985338211</c:v>
                </c:pt>
                <c:pt idx="55">
                  <c:v>193.95290351566052</c:v>
                </c:pt>
                <c:pt idx="56">
                  <c:v>202.37256406391782</c:v>
                </c:pt>
                <c:pt idx="57">
                  <c:v>211.0394151874211</c:v>
                </c:pt>
                <c:pt idx="58">
                  <c:v>219.94232545983508</c:v>
                </c:pt>
                <c:pt idx="59">
                  <c:v>229.0763816905185</c:v>
                </c:pt>
                <c:pt idx="60">
                  <c:v>238.43906353567763</c:v>
                </c:pt>
                <c:pt idx="61">
                  <c:v>248.04101423701778</c:v>
                </c:pt>
                <c:pt idx="62">
                  <c:v>257.86827651267174</c:v>
                </c:pt>
                <c:pt idx="63">
                  <c:v>267.9124688959331</c:v>
                </c:pt>
                <c:pt idx="64">
                  <c:v>278.16579305324677</c:v>
                </c:pt>
                <c:pt idx="65">
                  <c:v>288.61963019546761</c:v>
                </c:pt>
                <c:pt idx="66">
                  <c:v>299.26460032982698</c:v>
                </c:pt>
                <c:pt idx="67">
                  <c:v>310.0902972151776</c:v>
                </c:pt>
                <c:pt idx="68">
                  <c:v>321.08535639831899</c:v>
                </c:pt>
                <c:pt idx="69">
                  <c:v>332.23750363381419</c:v>
                </c:pt>
                <c:pt idx="70">
                  <c:v>343.5336201297232</c:v>
                </c:pt>
                <c:pt idx="71">
                  <c:v>354.95979491708397</c:v>
                </c:pt>
                <c:pt idx="72">
                  <c:v>366.50151152960296</c:v>
                </c:pt>
                <c:pt idx="73">
                  <c:v>378.14372775928467</c:v>
                </c:pt>
                <c:pt idx="74">
                  <c:v>389.87091464099143</c:v>
                </c:pt>
                <c:pt idx="75">
                  <c:v>401.66710923684764</c:v>
                </c:pt>
                <c:pt idx="76">
                  <c:v>413.51601262595699</c:v>
                </c:pt>
                <c:pt idx="77">
                  <c:v>425.40106359622791</c:v>
                </c:pt>
                <c:pt idx="78">
                  <c:v>437.30554552878425</c:v>
                </c:pt>
                <c:pt idx="79">
                  <c:v>449.21268597781352</c:v>
                </c:pt>
                <c:pt idx="80">
                  <c:v>461.10575683643771</c:v>
                </c:pt>
                <c:pt idx="81">
                  <c:v>472.96816017724154</c:v>
                </c:pt>
                <c:pt idx="82">
                  <c:v>484.78350096038622</c:v>
                </c:pt>
                <c:pt idx="83">
                  <c:v>496.53567371467676</c:v>
                </c:pt>
                <c:pt idx="84">
                  <c:v>508.20894051843487</c:v>
                </c:pt>
                <c:pt idx="85">
                  <c:v>519.7880068876118</c:v>
                </c:pt>
                <c:pt idx="86">
                  <c:v>531.25809065792077</c:v>
                </c:pt>
                <c:pt idx="87">
                  <c:v>542.60499191891063</c:v>
                </c:pt>
                <c:pt idx="88">
                  <c:v>553.81515463582082</c:v>
                </c:pt>
                <c:pt idx="89">
                  <c:v>564.87571656389559</c:v>
                </c:pt>
                <c:pt idx="90">
                  <c:v>575.77455038377047</c:v>
                </c:pt>
                <c:pt idx="91">
                  <c:v>586.50030469004082</c:v>
                </c:pt>
                <c:pt idx="92">
                  <c:v>597.04243506099749</c:v>
                </c:pt>
                <c:pt idx="93">
                  <c:v>607.39122886904943</c:v>
                </c:pt>
                <c:pt idx="94">
                  <c:v>617.53782257001421</c:v>
                </c:pt>
                <c:pt idx="95">
                  <c:v>627.474215137493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9</c:v>
                </c:pt>
                <c:pt idx="1">
                  <c:v>19</c:v>
                </c:pt>
                <c:pt idx="2">
                  <c:v>25</c:v>
                </c:pt>
                <c:pt idx="3">
                  <c:v>27</c:v>
                </c:pt>
                <c:pt idx="4">
                  <c:v>32</c:v>
                </c:pt>
                <c:pt idx="5">
                  <c:v>35</c:v>
                </c:pt>
                <c:pt idx="6">
                  <c:v>32</c:v>
                </c:pt>
                <c:pt idx="7">
                  <c:v>30</c:v>
                </c:pt>
                <c:pt idx="8">
                  <c:v>29</c:v>
                </c:pt>
                <c:pt idx="9">
                  <c:v>30</c:v>
                </c:pt>
                <c:pt idx="10">
                  <c:v>31</c:v>
                </c:pt>
                <c:pt idx="11">
                  <c:v>31</c:v>
                </c:pt>
                <c:pt idx="12">
                  <c:v>30</c:v>
                </c:pt>
                <c:pt idx="13">
                  <c:v>29</c:v>
                </c:pt>
                <c:pt idx="14">
                  <c:v>29</c:v>
                </c:pt>
                <c:pt idx="15">
                  <c:v>26</c:v>
                </c:pt>
                <c:pt idx="16">
                  <c:v>23</c:v>
                </c:pt>
                <c:pt idx="17">
                  <c:v>27</c:v>
                </c:pt>
                <c:pt idx="18">
                  <c:v>28</c:v>
                </c:pt>
                <c:pt idx="19">
                  <c:v>20</c:v>
                </c:pt>
                <c:pt idx="20">
                  <c:v>16</c:v>
                </c:pt>
                <c:pt idx="21">
                  <c:v>23</c:v>
                </c:pt>
                <c:pt idx="22">
                  <c:v>22</c:v>
                </c:pt>
                <c:pt idx="23">
                  <c:v>25</c:v>
                </c:pt>
                <c:pt idx="24">
                  <c:v>25</c:v>
                </c:pt>
                <c:pt idx="25">
                  <c:v>33</c:v>
                </c:pt>
                <c:pt idx="26">
                  <c:v>39</c:v>
                </c:pt>
                <c:pt idx="27">
                  <c:v>29</c:v>
                </c:pt>
                <c:pt idx="28">
                  <c:v>40</c:v>
                </c:pt>
                <c:pt idx="29">
                  <c:v>38</c:v>
                </c:pt>
                <c:pt idx="30">
                  <c:v>43</c:v>
                </c:pt>
                <c:pt idx="31">
                  <c:v>46</c:v>
                </c:pt>
                <c:pt idx="32">
                  <c:v>37</c:v>
                </c:pt>
                <c:pt idx="33">
                  <c:v>57</c:v>
                </c:pt>
                <c:pt idx="34">
                  <c:v>56</c:v>
                </c:pt>
                <c:pt idx="35">
                  <c:v>59</c:v>
                </c:pt>
                <c:pt idx="36">
                  <c:v>54</c:v>
                </c:pt>
                <c:pt idx="37">
                  <c:v>59</c:v>
                </c:pt>
                <c:pt idx="38">
                  <c:v>72</c:v>
                </c:pt>
                <c:pt idx="39">
                  <c:v>74</c:v>
                </c:pt>
                <c:pt idx="40">
                  <c:v>82</c:v>
                </c:pt>
                <c:pt idx="41">
                  <c:v>86</c:v>
                </c:pt>
                <c:pt idx="42">
                  <c:v>89</c:v>
                </c:pt>
                <c:pt idx="43">
                  <c:v>91</c:v>
                </c:pt>
                <c:pt idx="44">
                  <c:v>95</c:v>
                </c:pt>
                <c:pt idx="45">
                  <c:v>99</c:v>
                </c:pt>
                <c:pt idx="46">
                  <c:v>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89.970365637121333</c:v>
                </c:pt>
                <c:pt idx="43">
                  <c:v>94.649137318645629</c:v>
                </c:pt>
                <c:pt idx="44">
                  <c:v>99.183117613894893</c:v>
                </c:pt>
                <c:pt idx="45">
                  <c:v>103.48092374549391</c:v>
                </c:pt>
                <c:pt idx="46">
                  <c:v>107.73458424950462</c:v>
                </c:pt>
                <c:pt idx="47">
                  <c:v>112.01141197423269</c:v>
                </c:pt>
                <c:pt idx="48">
                  <c:v>116.19863766686048</c:v>
                </c:pt>
                <c:pt idx="49">
                  <c:v>120.25443599207986</c:v>
                </c:pt>
                <c:pt idx="50">
                  <c:v>123.9459329994865</c:v>
                </c:pt>
                <c:pt idx="51">
                  <c:v>127.55603575079996</c:v>
                </c:pt>
                <c:pt idx="52">
                  <c:v>131.04795668375624</c:v>
                </c:pt>
                <c:pt idx="53">
                  <c:v>134.4988692724902</c:v>
                </c:pt>
                <c:pt idx="54">
                  <c:v>137.65486988325125</c:v>
                </c:pt>
                <c:pt idx="55">
                  <c:v>140.64945906543232</c:v>
                </c:pt>
                <c:pt idx="56">
                  <c:v>143.59848911970602</c:v>
                </c:pt>
                <c:pt idx="57">
                  <c:v>146.3601336051656</c:v>
                </c:pt>
                <c:pt idx="58">
                  <c:v>148.96397297348415</c:v>
                </c:pt>
                <c:pt idx="59">
                  <c:v>151.39686590414834</c:v>
                </c:pt>
                <c:pt idx="60">
                  <c:v>153.74717465388932</c:v>
                </c:pt>
                <c:pt idx="61">
                  <c:v>155.9141467492496</c:v>
                </c:pt>
                <c:pt idx="62">
                  <c:v>157.89813249046347</c:v>
                </c:pt>
                <c:pt idx="63">
                  <c:v>159.74592111385971</c:v>
                </c:pt>
                <c:pt idx="64">
                  <c:v>161.48918076421626</c:v>
                </c:pt>
                <c:pt idx="65">
                  <c:v>163.04775798644022</c:v>
                </c:pt>
                <c:pt idx="66">
                  <c:v>164.43347680008574</c:v>
                </c:pt>
                <c:pt idx="67">
                  <c:v>165.67594536763207</c:v>
                </c:pt>
                <c:pt idx="68">
                  <c:v>166.7842904355096</c:v>
                </c:pt>
                <c:pt idx="69">
                  <c:v>167.74959335127488</c:v>
                </c:pt>
                <c:pt idx="70">
                  <c:v>168.56400282824984</c:v>
                </c:pt>
                <c:pt idx="71">
                  <c:v>169.25314682936596</c:v>
                </c:pt>
                <c:pt idx="72">
                  <c:v>169.7888243245913</c:v>
                </c:pt>
                <c:pt idx="73">
                  <c:v>170.17352380875712</c:v>
                </c:pt>
                <c:pt idx="74">
                  <c:v>170.39119022266934</c:v>
                </c:pt>
                <c:pt idx="75">
                  <c:v>170.4672660949374</c:v>
                </c:pt>
                <c:pt idx="76">
                  <c:v>170.40301837474848</c:v>
                </c:pt>
                <c:pt idx="77">
                  <c:v>170.19802837700558</c:v>
                </c:pt>
                <c:pt idx="78">
                  <c:v>169.84660911301214</c:v>
                </c:pt>
                <c:pt idx="79">
                  <c:v>169.34497039157191</c:v>
                </c:pt>
                <c:pt idx="80">
                  <c:v>168.70168161076677</c:v>
                </c:pt>
                <c:pt idx="81">
                  <c:v>167.92109891514536</c:v>
                </c:pt>
                <c:pt idx="82">
                  <c:v>167.00487710950259</c:v>
                </c:pt>
                <c:pt idx="83">
                  <c:v>165.95332535816587</c:v>
                </c:pt>
                <c:pt idx="84">
                  <c:v>164.77106632264667</c:v>
                </c:pt>
                <c:pt idx="85">
                  <c:v>163.46237031128123</c:v>
                </c:pt>
                <c:pt idx="86">
                  <c:v>162.03167656388629</c:v>
                </c:pt>
                <c:pt idx="87">
                  <c:v>160.48272360578187</c:v>
                </c:pt>
                <c:pt idx="88">
                  <c:v>158.82051714520261</c:v>
                </c:pt>
                <c:pt idx="89">
                  <c:v>157.04947205905893</c:v>
                </c:pt>
                <c:pt idx="90">
                  <c:v>155.17369783410282</c:v>
                </c:pt>
                <c:pt idx="91">
                  <c:v>153.19834382223115</c:v>
                </c:pt>
                <c:pt idx="92">
                  <c:v>151.12914895589373</c:v>
                </c:pt>
                <c:pt idx="93">
                  <c:v>148.97160719076248</c:v>
                </c:pt>
                <c:pt idx="94">
                  <c:v>146.73111292534691</c:v>
                </c:pt>
                <c:pt idx="95">
                  <c:v>144.413278897151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90.150591921587875</c:v>
                </c:pt>
                <c:pt idx="43">
                  <c:v>95.081722335649701</c:v>
                </c:pt>
                <c:pt idx="44">
                  <c:v>99.948849892315579</c:v>
                </c:pt>
                <c:pt idx="45">
                  <c:v>104.66831947226507</c:v>
                </c:pt>
                <c:pt idx="46">
                  <c:v>109.43716787473004</c:v>
                </c:pt>
                <c:pt idx="47">
                  <c:v>114.33066106836816</c:v>
                </c:pt>
                <c:pt idx="48">
                  <c:v>119.2374587729137</c:v>
                </c:pt>
                <c:pt idx="49">
                  <c:v>124.11924897526845</c:v>
                </c:pt>
                <c:pt idx="50">
                  <c:v>128.74287234518624</c:v>
                </c:pt>
                <c:pt idx="51">
                  <c:v>133.39183200343894</c:v>
                </c:pt>
                <c:pt idx="52">
                  <c:v>138.02825602627513</c:v>
                </c:pt>
                <c:pt idx="53">
                  <c:v>142.72615919727883</c:v>
                </c:pt>
                <c:pt idx="54">
                  <c:v>147.22901931728524</c:v>
                </c:pt>
                <c:pt idx="55">
                  <c:v>151.66534426645279</c:v>
                </c:pt>
                <c:pt idx="56">
                  <c:v>156.1467975294243</c:v>
                </c:pt>
                <c:pt idx="57">
                  <c:v>160.52566157687795</c:v>
                </c:pt>
                <c:pt idx="58">
                  <c:v>164.82479904303671</c:v>
                </c:pt>
                <c:pt idx="59">
                  <c:v>169.02076056892159</c:v>
                </c:pt>
                <c:pt idx="60">
                  <c:v>173.19581134391711</c:v>
                </c:pt>
                <c:pt idx="61">
                  <c:v>177.23886628741849</c:v>
                </c:pt>
                <c:pt idx="62">
                  <c:v>181.14256526178315</c:v>
                </c:pt>
                <c:pt idx="63">
                  <c:v>184.94632269499613</c:v>
                </c:pt>
                <c:pt idx="64">
                  <c:v>188.67230096912397</c:v>
                </c:pt>
                <c:pt idx="65">
                  <c:v>192.23086622799332</c:v>
                </c:pt>
                <c:pt idx="66">
                  <c:v>195.62515129884275</c:v>
                </c:pt>
                <c:pt idx="67">
                  <c:v>198.87707648897504</c:v>
                </c:pt>
                <c:pt idx="68">
                  <c:v>201.98710421510336</c:v>
                </c:pt>
                <c:pt idx="69">
                  <c:v>204.93774997736045</c:v>
                </c:pt>
                <c:pt idx="70">
                  <c:v>207.71233710547185</c:v>
                </c:pt>
                <c:pt idx="71">
                  <c:v>210.32785880885339</c:v>
                </c:pt>
                <c:pt idx="72">
                  <c:v>212.7472741002984</c:v>
                </c:pt>
                <c:pt idx="73">
                  <c:v>214.96543489305441</c:v>
                </c:pt>
                <c:pt idx="74">
                  <c:v>216.95857470554029</c:v>
                </c:pt>
                <c:pt idx="75">
                  <c:v>218.74531425790576</c:v>
                </c:pt>
                <c:pt idx="76">
                  <c:v>220.32013967249401</c:v>
                </c:pt>
                <c:pt idx="77">
                  <c:v>221.67628035141587</c:v>
                </c:pt>
                <c:pt idx="78">
                  <c:v>222.80154767984246</c:v>
                </c:pt>
                <c:pt idx="79">
                  <c:v>223.68648655391877</c:v>
                </c:pt>
                <c:pt idx="80">
                  <c:v>224.33511675977786</c:v>
                </c:pt>
                <c:pt idx="81">
                  <c:v>224.74742553028449</c:v>
                </c:pt>
                <c:pt idx="82">
                  <c:v>224.92127150846255</c:v>
                </c:pt>
                <c:pt idx="83">
                  <c:v>224.8537508457934</c:v>
                </c:pt>
                <c:pt idx="84">
                  <c:v>224.54685590572959</c:v>
                </c:pt>
                <c:pt idx="85">
                  <c:v>224.00283036693969</c:v>
                </c:pt>
                <c:pt idx="86">
                  <c:v>223.22468520157992</c:v>
                </c:pt>
                <c:pt idx="87">
                  <c:v>222.21533032623563</c:v>
                </c:pt>
                <c:pt idx="88">
                  <c:v>220.97952942595947</c:v>
                </c:pt>
                <c:pt idx="89">
                  <c:v>219.52202540975836</c:v>
                </c:pt>
                <c:pt idx="90">
                  <c:v>217.84780050351276</c:v>
                </c:pt>
                <c:pt idx="91">
                  <c:v>215.96339974785303</c:v>
                </c:pt>
                <c:pt idx="92">
                  <c:v>213.87646121164437</c:v>
                </c:pt>
                <c:pt idx="93">
                  <c:v>211.59485405338052</c:v>
                </c:pt>
                <c:pt idx="94">
                  <c:v>209.12678925520277</c:v>
                </c:pt>
                <c:pt idx="95">
                  <c:v>206.481088628904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90.331840605928264</c:v>
                </c:pt>
                <c:pt idx="43">
                  <c:v>95.518024764630638</c:v>
                </c:pt>
                <c:pt idx="44">
                  <c:v>100.72384186935795</c:v>
                </c:pt>
                <c:pt idx="45">
                  <c:v>105.87481007844158</c:v>
                </c:pt>
                <c:pt idx="46">
                  <c:v>111.17464385254729</c:v>
                </c:pt>
                <c:pt idx="47">
                  <c:v>116.70843774638359</c:v>
                </c:pt>
                <c:pt idx="48">
                  <c:v>122.36829459654412</c:v>
                </c:pt>
                <c:pt idx="49">
                  <c:v>128.12155615085626</c:v>
                </c:pt>
                <c:pt idx="50">
                  <c:v>133.73697652193101</c:v>
                </c:pt>
                <c:pt idx="51">
                  <c:v>139.50088280915412</c:v>
                </c:pt>
                <c:pt idx="52">
                  <c:v>145.3765177174763</c:v>
                </c:pt>
                <c:pt idx="53">
                  <c:v>151.43684037164888</c:v>
                </c:pt>
                <c:pt idx="54">
                  <c:v>157.42466966207797</c:v>
                </c:pt>
                <c:pt idx="55">
                  <c:v>163.46527625897784</c:v>
                </c:pt>
                <c:pt idx="56">
                  <c:v>169.66766915582292</c:v>
                </c:pt>
                <c:pt idx="57">
                  <c:v>175.87948808993127</c:v>
                </c:pt>
                <c:pt idx="58">
                  <c:v>182.11781241066754</c:v>
                </c:pt>
                <c:pt idx="59">
                  <c:v>188.34945120966557</c:v>
                </c:pt>
                <c:pt idx="60">
                  <c:v>194.6507425400543</c:v>
                </c:pt>
                <c:pt idx="61">
                  <c:v>200.89999030540415</c:v>
                </c:pt>
                <c:pt idx="62">
                  <c:v>207.08138849992969</c:v>
                </c:pt>
                <c:pt idx="63">
                  <c:v>213.22577859556557</c:v>
                </c:pt>
                <c:pt idx="64">
                  <c:v>219.3441459335188</c:v>
                </c:pt>
                <c:pt idx="65">
                  <c:v>225.33527168248088</c:v>
                </c:pt>
                <c:pt idx="66">
                  <c:v>231.19107572760595</c:v>
                </c:pt>
                <c:pt idx="67">
                  <c:v>236.92283869495643</c:v>
                </c:pt>
                <c:pt idx="68">
                  <c:v>242.51900744628455</c:v>
                </c:pt>
                <c:pt idx="69">
                  <c:v>247.94981851394454</c:v>
                </c:pt>
                <c:pt idx="70">
                  <c:v>253.1857372437982</c:v>
                </c:pt>
                <c:pt idx="71">
                  <c:v>258.23081638602844</c:v>
                </c:pt>
                <c:pt idx="72">
                  <c:v>263.03466190703659</c:v>
                </c:pt>
                <c:pt idx="73">
                  <c:v>267.57982978151568</c:v>
                </c:pt>
                <c:pt idx="74">
                  <c:v>271.83008810623687</c:v>
                </c:pt>
                <c:pt idx="75">
                  <c:v>275.79244982766761</c:v>
                </c:pt>
                <c:pt idx="76">
                  <c:v>279.4498663887378</c:v>
                </c:pt>
                <c:pt idx="77">
                  <c:v>282.78455740305373</c:v>
                </c:pt>
                <c:pt idx="78">
                  <c:v>285.77333202795762</c:v>
                </c:pt>
                <c:pt idx="79">
                  <c:v>288.39679012363666</c:v>
                </c:pt>
                <c:pt idx="80">
                  <c:v>290.65040311872212</c:v>
                </c:pt>
                <c:pt idx="81">
                  <c:v>292.52612255971911</c:v>
                </c:pt>
                <c:pt idx="82">
                  <c:v>294.01472246785693</c:v>
                </c:pt>
                <c:pt idx="83">
                  <c:v>295.10721850575737</c:v>
                </c:pt>
                <c:pt idx="84">
                  <c:v>295.80056201528123</c:v>
                </c:pt>
                <c:pt idx="85">
                  <c:v>296.09304421194145</c:v>
                </c:pt>
                <c:pt idx="86">
                  <c:v>295.98482813636394</c:v>
                </c:pt>
                <c:pt idx="87">
                  <c:v>295.47709576474722</c:v>
                </c:pt>
                <c:pt idx="88">
                  <c:v>294.57399561079382</c:v>
                </c:pt>
                <c:pt idx="89">
                  <c:v>293.28074906643525</c:v>
                </c:pt>
                <c:pt idx="90">
                  <c:v>291.60387543507125</c:v>
                </c:pt>
                <c:pt idx="91">
                  <c:v>289.55247785393095</c:v>
                </c:pt>
                <c:pt idx="92">
                  <c:v>287.1377309850543</c:v>
                </c:pt>
                <c:pt idx="93">
                  <c:v>284.37196299551181</c:v>
                </c:pt>
                <c:pt idx="94">
                  <c:v>281.26869747069412</c:v>
                </c:pt>
                <c:pt idx="95">
                  <c:v>277.84284977199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3</c:v>
                </c:pt>
                <c:pt idx="11">
                  <c:v>4</c:v>
                </c:pt>
                <c:pt idx="12">
                  <c:v>4</c:v>
                </c:pt>
                <c:pt idx="13">
                  <c:v>4</c:v>
                </c:pt>
                <c:pt idx="14">
                  <c:v>4</c:v>
                </c:pt>
                <c:pt idx="15">
                  <c:v>7</c:v>
                </c:pt>
                <c:pt idx="16">
                  <c:v>7</c:v>
                </c:pt>
                <c:pt idx="17">
                  <c:v>8</c:v>
                </c:pt>
                <c:pt idx="18">
                  <c:v>9</c:v>
                </c:pt>
                <c:pt idx="19">
                  <c:v>9</c:v>
                </c:pt>
                <c:pt idx="20">
                  <c:v>9</c:v>
                </c:pt>
                <c:pt idx="21">
                  <c:v>10</c:v>
                </c:pt>
                <c:pt idx="22">
                  <c:v>11</c:v>
                </c:pt>
                <c:pt idx="23">
                  <c:v>11</c:v>
                </c:pt>
                <c:pt idx="24">
                  <c:v>12</c:v>
                </c:pt>
                <c:pt idx="25">
                  <c:v>12</c:v>
                </c:pt>
                <c:pt idx="26">
                  <c:v>13</c:v>
                </c:pt>
                <c:pt idx="27">
                  <c:v>15</c:v>
                </c:pt>
                <c:pt idx="28">
                  <c:v>18</c:v>
                </c:pt>
                <c:pt idx="29">
                  <c:v>18</c:v>
                </c:pt>
                <c:pt idx="30">
                  <c:v>25</c:v>
                </c:pt>
                <c:pt idx="31">
                  <c:v>30</c:v>
                </c:pt>
                <c:pt idx="32">
                  <c:v>32</c:v>
                </c:pt>
                <c:pt idx="33">
                  <c:v>35</c:v>
                </c:pt>
                <c:pt idx="34">
                  <c:v>39</c:v>
                </c:pt>
                <c:pt idx="35">
                  <c:v>43</c:v>
                </c:pt>
                <c:pt idx="36">
                  <c:v>46</c:v>
                </c:pt>
                <c:pt idx="37">
                  <c:v>52</c:v>
                </c:pt>
                <c:pt idx="38">
                  <c:v>59</c:v>
                </c:pt>
                <c:pt idx="39">
                  <c:v>67</c:v>
                </c:pt>
                <c:pt idx="40">
                  <c:v>70</c:v>
                </c:pt>
                <c:pt idx="41">
                  <c:v>70</c:v>
                </c:pt>
                <c:pt idx="42">
                  <c:v>73</c:v>
                </c:pt>
                <c:pt idx="43">
                  <c:v>81</c:v>
                </c:pt>
                <c:pt idx="44">
                  <c:v>88</c:v>
                </c:pt>
                <c:pt idx="45">
                  <c:v>95</c:v>
                </c:pt>
                <c:pt idx="46">
                  <c:v>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75.034823002825178</c:v>
                </c:pt>
                <c:pt idx="43">
                  <c:v>80.18216725917803</c:v>
                </c:pt>
                <c:pt idx="44">
                  <c:v>85.428512649615428</c:v>
                </c:pt>
                <c:pt idx="45">
                  <c:v>90.74488903109787</c:v>
                </c:pt>
                <c:pt idx="46">
                  <c:v>96.233973121321014</c:v>
                </c:pt>
                <c:pt idx="47">
                  <c:v>101.84118318596035</c:v>
                </c:pt>
                <c:pt idx="48">
                  <c:v>107.59379050294567</c:v>
                </c:pt>
                <c:pt idx="49">
                  <c:v>113.44050959033879</c:v>
                </c:pt>
                <c:pt idx="50">
                  <c:v>119.36070238332718</c:v>
                </c:pt>
                <c:pt idx="51">
                  <c:v>125.3705980901008</c:v>
                </c:pt>
                <c:pt idx="52">
                  <c:v>131.4666510635038</c:v>
                </c:pt>
                <c:pt idx="53">
                  <c:v>137.66663733407819</c:v>
                </c:pt>
                <c:pt idx="54">
                  <c:v>143.9400997543886</c:v>
                </c:pt>
                <c:pt idx="55">
                  <c:v>150.28601714639603</c:v>
                </c:pt>
                <c:pt idx="56">
                  <c:v>156.69813752565005</c:v>
                </c:pt>
                <c:pt idx="57">
                  <c:v>163.17632121387732</c:v>
                </c:pt>
                <c:pt idx="58">
                  <c:v>169.70740080194139</c:v>
                </c:pt>
                <c:pt idx="59">
                  <c:v>176.28374392600011</c:v>
                </c:pt>
                <c:pt idx="60">
                  <c:v>182.90166352381246</c:v>
                </c:pt>
                <c:pt idx="61">
                  <c:v>189.57223617907587</c:v>
                </c:pt>
                <c:pt idx="62">
                  <c:v>196.28142170277417</c:v>
                </c:pt>
                <c:pt idx="63">
                  <c:v>203.02211159884047</c:v>
                </c:pt>
                <c:pt idx="64">
                  <c:v>209.78884110515531</c:v>
                </c:pt>
                <c:pt idx="65">
                  <c:v>216.57615387369253</c:v>
                </c:pt>
                <c:pt idx="66">
                  <c:v>223.37863206263938</c:v>
                </c:pt>
                <c:pt idx="67">
                  <c:v>230.19074834882454</c:v>
                </c:pt>
                <c:pt idx="68">
                  <c:v>237.00689725140737</c:v>
                </c:pt>
                <c:pt idx="69">
                  <c:v>243.8214155598383</c:v>
                </c:pt>
                <c:pt idx="70">
                  <c:v>250.62860709118164</c:v>
                </c:pt>
                <c:pt idx="71">
                  <c:v>257.42275874759116</c:v>
                </c:pt>
                <c:pt idx="72">
                  <c:v>264.19822198552652</c:v>
                </c:pt>
                <c:pt idx="73">
                  <c:v>270.94943624409018</c:v>
                </c:pt>
                <c:pt idx="74">
                  <c:v>277.67092698187253</c:v>
                </c:pt>
                <c:pt idx="75">
                  <c:v>284.35730621165408</c:v>
                </c:pt>
                <c:pt idx="76">
                  <c:v>291.0032955045408</c:v>
                </c:pt>
                <c:pt idx="77">
                  <c:v>297.60373382443868</c:v>
                </c:pt>
                <c:pt idx="78">
                  <c:v>304.15360094193534</c:v>
                </c:pt>
                <c:pt idx="79">
                  <c:v>310.64803584204083</c:v>
                </c:pt>
                <c:pt idx="80">
                  <c:v>317.08235453407099</c:v>
                </c:pt>
                <c:pt idx="81">
                  <c:v>323.45205987746317</c:v>
                </c:pt>
                <c:pt idx="82">
                  <c:v>329.75284354070868</c:v>
                </c:pt>
                <c:pt idx="83">
                  <c:v>335.98059623978617</c:v>
                </c:pt>
                <c:pt idx="84">
                  <c:v>342.13141447510168</c:v>
                </c:pt>
                <c:pt idx="85">
                  <c:v>348.20160710488102</c:v>
                </c:pt>
                <c:pt idx="86">
                  <c:v>354.18769977617882</c:v>
                </c:pt>
                <c:pt idx="87">
                  <c:v>360.08644185490203</c:v>
                </c:pt>
                <c:pt idx="88">
                  <c:v>365.89481129391004</c:v>
                </c:pt>
                <c:pt idx="89">
                  <c:v>371.61001531540677</c:v>
                </c:pt>
                <c:pt idx="90">
                  <c:v>377.22948890262859</c:v>
                </c:pt>
                <c:pt idx="91">
                  <c:v>382.75089616675018</c:v>
                </c:pt>
                <c:pt idx="92">
                  <c:v>388.17212920649899</c:v>
                </c:pt>
                <c:pt idx="93">
                  <c:v>393.49130650196753</c:v>
                </c:pt>
                <c:pt idx="94">
                  <c:v>398.70677014441316</c:v>
                </c:pt>
                <c:pt idx="95">
                  <c:v>403.817089059095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75.102406136221418</c:v>
                </c:pt>
                <c:pt idx="43">
                  <c:v>80.348669490937112</c:v>
                </c:pt>
                <c:pt idx="44">
                  <c:v>85.730538147169071</c:v>
                </c:pt>
                <c:pt idx="45">
                  <c:v>91.224236283751026</c:v>
                </c:pt>
                <c:pt idx="46">
                  <c:v>96.937371063112579</c:v>
                </c:pt>
                <c:pt idx="47">
                  <c:v>102.82039876617399</c:v>
                </c:pt>
                <c:pt idx="48">
                  <c:v>108.90516597099041</c:v>
                </c:pt>
                <c:pt idx="49">
                  <c:v>115.14468405165519</c:v>
                </c:pt>
                <c:pt idx="50">
                  <c:v>121.52218364438632</c:v>
                </c:pt>
                <c:pt idx="51">
                  <c:v>128.05721663414297</c:v>
                </c:pt>
                <c:pt idx="52">
                  <c:v>134.74924144732535</c:v>
                </c:pt>
                <c:pt idx="53">
                  <c:v>141.61862861030642</c:v>
                </c:pt>
                <c:pt idx="54">
                  <c:v>148.63740960094856</c:v>
                </c:pt>
                <c:pt idx="55">
                  <c:v>155.80648358360085</c:v>
                </c:pt>
                <c:pt idx="56">
                  <c:v>163.12109790141926</c:v>
                </c:pt>
                <c:pt idx="57">
                  <c:v>170.58223545613404</c:v>
                </c:pt>
                <c:pt idx="58">
                  <c:v>178.17753388763336</c:v>
                </c:pt>
                <c:pt idx="59">
                  <c:v>185.89980473152966</c:v>
                </c:pt>
                <c:pt idx="60">
                  <c:v>193.74543334582788</c:v>
                </c:pt>
                <c:pt idx="61">
                  <c:v>201.72520565804143</c:v>
                </c:pt>
                <c:pt idx="62">
                  <c:v>209.82454161715381</c:v>
                </c:pt>
                <c:pt idx="63">
                  <c:v>218.0353784003176</c:v>
                </c:pt>
                <c:pt idx="64">
                  <c:v>226.35091105988931</c:v>
                </c:pt>
                <c:pt idx="65">
                  <c:v>234.7640311236654</c:v>
                </c:pt>
                <c:pt idx="66">
                  <c:v>243.26737689188354</c:v>
                </c:pt>
                <c:pt idx="67">
                  <c:v>251.85313966694005</c:v>
                </c:pt>
                <c:pt idx="68">
                  <c:v>260.51311592493914</c:v>
                </c:pt>
                <c:pt idx="69">
                  <c:v>269.23874224401493</c:v>
                </c:pt>
                <c:pt idx="70">
                  <c:v>278.02113879578906</c:v>
                </c:pt>
                <c:pt idx="71">
                  <c:v>286.85114079488915</c:v>
                </c:pt>
                <c:pt idx="72">
                  <c:v>295.71942556787138</c:v>
                </c:pt>
                <c:pt idx="73">
                  <c:v>304.61655845175176</c:v>
                </c:pt>
                <c:pt idx="74">
                  <c:v>313.53300538760891</c:v>
                </c:pt>
                <c:pt idx="75">
                  <c:v>322.45915148487074</c:v>
                </c:pt>
                <c:pt idx="76">
                  <c:v>331.38535154541222</c:v>
                </c:pt>
                <c:pt idx="77">
                  <c:v>340.30196022746622</c:v>
                </c:pt>
                <c:pt idx="78">
                  <c:v>349.19938446104868</c:v>
                </c:pt>
                <c:pt idx="79">
                  <c:v>358.06812935699747</c:v>
                </c:pt>
                <c:pt idx="80">
                  <c:v>366.89884397345395</c:v>
                </c:pt>
                <c:pt idx="81">
                  <c:v>375.68235588812729</c:v>
                </c:pt>
                <c:pt idx="82">
                  <c:v>384.40969489618561</c:v>
                </c:pt>
                <c:pt idx="83">
                  <c:v>393.07212789081956</c:v>
                </c:pt>
                <c:pt idx="84">
                  <c:v>401.66118819253467</c:v>
                </c:pt>
                <c:pt idx="85">
                  <c:v>410.16870412353228</c:v>
                </c:pt>
                <c:pt idx="86">
                  <c:v>418.5868236622992</c:v>
                </c:pt>
                <c:pt idx="87">
                  <c:v>426.90804169438042</c:v>
                </c:pt>
                <c:pt idx="88">
                  <c:v>435.12522316311828</c:v>
                </c:pt>
                <c:pt idx="89">
                  <c:v>443.23161927677739</c:v>
                </c:pt>
                <c:pt idx="90">
                  <c:v>451.2208794092162</c:v>
                </c:pt>
                <c:pt idx="91">
                  <c:v>459.08706561387822</c:v>
                </c:pt>
                <c:pt idx="92">
                  <c:v>466.82466224091843</c:v>
                </c:pt>
                <c:pt idx="93">
                  <c:v>474.42858347319509</c:v>
                </c:pt>
                <c:pt idx="94">
                  <c:v>481.89417779573955</c:v>
                </c:pt>
                <c:pt idx="95">
                  <c:v>489.217232179254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75.170372739736848</c:v>
                </c:pt>
                <c:pt idx="43">
                  <c:v>80.516590127074991</c:v>
                </c:pt>
                <c:pt idx="44">
                  <c:v>86.036150295245207</c:v>
                </c:pt>
                <c:pt idx="45">
                  <c:v>91.711085789615225</c:v>
                </c:pt>
                <c:pt idx="46">
                  <c:v>97.654673837482648</c:v>
                </c:pt>
                <c:pt idx="47">
                  <c:v>103.82326838181793</c:v>
                </c:pt>
                <c:pt idx="48">
                  <c:v>110.25426222233435</c:v>
                </c:pt>
                <c:pt idx="49">
                  <c:v>116.90603947278487</c:v>
                </c:pt>
                <c:pt idx="50">
                  <c:v>123.76686656881219</c:v>
                </c:pt>
                <c:pt idx="51">
                  <c:v>130.86086387570026</c:v>
                </c:pt>
                <c:pt idx="52">
                  <c:v>138.19180126872271</c:v>
                </c:pt>
                <c:pt idx="53">
                  <c:v>145.78398905052904</c:v>
                </c:pt>
                <c:pt idx="54">
                  <c:v>153.61330991870381</c:v>
                </c:pt>
                <c:pt idx="55">
                  <c:v>161.6839401945636</c:v>
                </c:pt>
                <c:pt idx="56">
                  <c:v>169.99396323803086</c:v>
                </c:pt>
                <c:pt idx="57">
                  <c:v>178.54677350326352</c:v>
                </c:pt>
                <c:pt idx="58">
                  <c:v>187.33203703479052</c:v>
                </c:pt>
                <c:pt idx="59">
                  <c:v>196.34414487923726</c:v>
                </c:pt>
                <c:pt idx="60">
                  <c:v>205.58057423420433</c:v>
                </c:pt>
                <c:pt idx="61">
                  <c:v>215.05270282536713</c:v>
                </c:pt>
                <c:pt idx="62">
                  <c:v>224.74613494732426</c:v>
                </c:pt>
                <c:pt idx="63">
                  <c:v>234.65240335726435</c:v>
                </c:pt>
                <c:pt idx="64">
                  <c:v>244.76372280463278</c:v>
                </c:pt>
                <c:pt idx="65">
                  <c:v>255.07150147323617</c:v>
                </c:pt>
                <c:pt idx="66">
                  <c:v>265.56640168286793</c:v>
                </c:pt>
                <c:pt idx="67">
                  <c:v>276.23807869285963</c:v>
                </c:pt>
                <c:pt idx="68">
                  <c:v>287.07525052230778</c:v>
                </c:pt>
                <c:pt idx="69">
                  <c:v>298.06574520795891</c:v>
                </c:pt>
                <c:pt idx="70">
                  <c:v>309.19656484176426</c:v>
                </c:pt>
                <c:pt idx="71">
                  <c:v>320.45393624940709</c:v>
                </c:pt>
                <c:pt idx="72">
                  <c:v>331.82349729816139</c:v>
                </c:pt>
                <c:pt idx="73">
                  <c:v>343.29037622682546</c:v>
                </c:pt>
                <c:pt idx="74">
                  <c:v>354.8392306820964</c:v>
                </c:pt>
                <c:pt idx="75">
                  <c:v>366.45429951671201</c:v>
                </c:pt>
                <c:pt idx="76">
                  <c:v>378.11950043022915</c:v>
                </c:pt>
                <c:pt idx="77">
                  <c:v>389.81850277549967</c:v>
                </c:pt>
                <c:pt idx="78">
                  <c:v>401.53483248911908</c:v>
                </c:pt>
                <c:pt idx="79">
                  <c:v>413.251969921843</c:v>
                </c:pt>
                <c:pt idx="80">
                  <c:v>424.95344916176413</c:v>
                </c:pt>
                <c:pt idx="81">
                  <c:v>436.62294280212416</c:v>
                </c:pt>
                <c:pt idx="82">
                  <c:v>448.24433241638434</c:v>
                </c:pt>
                <c:pt idx="83">
                  <c:v>459.80179367290418</c:v>
                </c:pt>
                <c:pt idx="84">
                  <c:v>471.2798729039319</c:v>
                </c:pt>
                <c:pt idx="85">
                  <c:v>482.66356143022199</c:v>
                </c:pt>
                <c:pt idx="86">
                  <c:v>493.93836270524764</c:v>
                </c:pt>
                <c:pt idx="87">
                  <c:v>505.09036080872369</c:v>
                </c:pt>
                <c:pt idx="88">
                  <c:v>516.10628077305148</c:v>
                </c:pt>
                <c:pt idx="89">
                  <c:v>526.97353683399035</c:v>
                </c:pt>
                <c:pt idx="90">
                  <c:v>537.68027186866334</c:v>
                </c:pt>
                <c:pt idx="91">
                  <c:v>548.21539711797845</c:v>
                </c:pt>
                <c:pt idx="92">
                  <c:v>558.56862200874946</c:v>
                </c:pt>
                <c:pt idx="93">
                  <c:v>568.73047783801985</c:v>
                </c:pt>
                <c:pt idx="94">
                  <c:v>578.69233399522977</c:v>
                </c:pt>
                <c:pt idx="95">
                  <c:v>588.446410575463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5</c:v>
                </c:pt>
                <c:pt idx="10">
                  <c:v>5</c:v>
                </c:pt>
                <c:pt idx="11">
                  <c:v>5</c:v>
                </c:pt>
                <c:pt idx="12">
                  <c:v>5</c:v>
                </c:pt>
                <c:pt idx="13">
                  <c:v>7</c:v>
                </c:pt>
                <c:pt idx="14">
                  <c:v>7</c:v>
                </c:pt>
                <c:pt idx="15">
                  <c:v>7</c:v>
                </c:pt>
                <c:pt idx="16">
                  <c:v>7</c:v>
                </c:pt>
                <c:pt idx="17">
                  <c:v>7</c:v>
                </c:pt>
                <c:pt idx="18">
                  <c:v>7</c:v>
                </c:pt>
                <c:pt idx="19">
                  <c:v>7</c:v>
                </c:pt>
                <c:pt idx="20">
                  <c:v>7</c:v>
                </c:pt>
                <c:pt idx="21">
                  <c:v>7</c:v>
                </c:pt>
                <c:pt idx="22">
                  <c:v>8</c:v>
                </c:pt>
                <c:pt idx="23">
                  <c:v>8</c:v>
                </c:pt>
                <c:pt idx="24">
                  <c:v>8</c:v>
                </c:pt>
                <c:pt idx="25">
                  <c:v>8</c:v>
                </c:pt>
                <c:pt idx="26">
                  <c:v>8</c:v>
                </c:pt>
                <c:pt idx="27">
                  <c:v>8</c:v>
                </c:pt>
                <c:pt idx="28">
                  <c:v>8</c:v>
                </c:pt>
                <c:pt idx="29">
                  <c:v>8</c:v>
                </c:pt>
                <c:pt idx="30">
                  <c:v>8</c:v>
                </c:pt>
                <c:pt idx="31">
                  <c:v>8</c:v>
                </c:pt>
                <c:pt idx="32">
                  <c:v>8</c:v>
                </c:pt>
                <c:pt idx="33">
                  <c:v>9</c:v>
                </c:pt>
                <c:pt idx="34">
                  <c:v>9</c:v>
                </c:pt>
                <c:pt idx="35">
                  <c:v>9</c:v>
                </c:pt>
                <c:pt idx="36">
                  <c:v>9</c:v>
                </c:pt>
                <c:pt idx="37">
                  <c:v>9</c:v>
                </c:pt>
                <c:pt idx="38">
                  <c:v>12</c:v>
                </c:pt>
                <c:pt idx="39">
                  <c:v>12</c:v>
                </c:pt>
                <c:pt idx="40">
                  <c:v>13</c:v>
                </c:pt>
                <c:pt idx="41">
                  <c:v>14</c:v>
                </c:pt>
                <c:pt idx="42">
                  <c:v>14</c:v>
                </c:pt>
                <c:pt idx="43">
                  <c:v>15</c:v>
                </c:pt>
                <c:pt idx="44">
                  <c:v>16</c:v>
                </c:pt>
                <c:pt idx="45">
                  <c:v>17</c:v>
                </c:pt>
                <c:pt idx="46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4.503708649059591</c:v>
                </c:pt>
                <c:pt idx="43">
                  <c:v>15.016914956926049</c:v>
                </c:pt>
                <c:pt idx="44">
                  <c:v>15.53874552323178</c:v>
                </c:pt>
                <c:pt idx="45">
                  <c:v>16.066498478974214</c:v>
                </c:pt>
                <c:pt idx="46">
                  <c:v>16.609548243187835</c:v>
                </c:pt>
                <c:pt idx="47">
                  <c:v>17.163241054519325</c:v>
                </c:pt>
                <c:pt idx="48">
                  <c:v>17.731961580742478</c:v>
                </c:pt>
                <c:pt idx="49">
                  <c:v>18.309599565942108</c:v>
                </c:pt>
                <c:pt idx="50">
                  <c:v>18.893288973057331</c:v>
                </c:pt>
                <c:pt idx="51">
                  <c:v>19.486073248996846</c:v>
                </c:pt>
                <c:pt idx="52">
                  <c:v>20.088634270845837</c:v>
                </c:pt>
                <c:pt idx="53">
                  <c:v>20.700967982580003</c:v>
                </c:pt>
                <c:pt idx="54">
                  <c:v>21.319672271486368</c:v>
                </c:pt>
                <c:pt idx="55">
                  <c:v>21.94562999192086</c:v>
                </c:pt>
                <c:pt idx="56">
                  <c:v>22.57860286391481</c:v>
                </c:pt>
                <c:pt idx="57">
                  <c:v>23.218756593862658</c:v>
                </c:pt>
                <c:pt idx="58">
                  <c:v>23.864328392189911</c:v>
                </c:pt>
                <c:pt idx="59">
                  <c:v>24.514980059656928</c:v>
                </c:pt>
                <c:pt idx="60">
                  <c:v>25.170309605127279</c:v>
                </c:pt>
                <c:pt idx="61">
                  <c:v>25.830796919977082</c:v>
                </c:pt>
                <c:pt idx="62">
                  <c:v>26.495401021543245</c:v>
                </c:pt>
                <c:pt idx="63">
                  <c:v>27.163492044403981</c:v>
                </c:pt>
                <c:pt idx="64">
                  <c:v>27.834533593012637</c:v>
                </c:pt>
                <c:pt idx="65">
                  <c:v>28.50798932916674</c:v>
                </c:pt>
                <c:pt idx="66">
                  <c:v>29.183325535511862</c:v>
                </c:pt>
                <c:pt idx="67">
                  <c:v>29.859996601819567</c:v>
                </c:pt>
                <c:pt idx="68">
                  <c:v>30.537447451606102</c:v>
                </c:pt>
                <c:pt idx="69">
                  <c:v>31.215115938606818</c:v>
                </c:pt>
                <c:pt idx="70">
                  <c:v>31.892435602288277</c:v>
                </c:pt>
                <c:pt idx="71">
                  <c:v>32.56883771916457</c:v>
                </c:pt>
                <c:pt idx="72">
                  <c:v>33.243758854903945</c:v>
                </c:pt>
                <c:pt idx="73">
                  <c:v>33.916643109829366</c:v>
                </c:pt>
                <c:pt idx="74">
                  <c:v>34.586941876697523</c:v>
                </c:pt>
                <c:pt idx="75">
                  <c:v>35.254114147076137</c:v>
                </c:pt>
                <c:pt idx="76">
                  <c:v>35.917628572872886</c:v>
                </c:pt>
                <c:pt idx="77">
                  <c:v>36.576964292231693</c:v>
                </c:pt>
                <c:pt idx="78">
                  <c:v>37.231613475232287</c:v>
                </c:pt>
                <c:pt idx="79">
                  <c:v>37.881083315863492</c:v>
                </c:pt>
                <c:pt idx="80">
                  <c:v>38.524897641115167</c:v>
                </c:pt>
                <c:pt idx="81">
                  <c:v>39.162597826655329</c:v>
                </c:pt>
                <c:pt idx="82">
                  <c:v>39.793743377729328</c:v>
                </c:pt>
                <c:pt idx="83">
                  <c:v>40.417913014898488</c:v>
                </c:pt>
                <c:pt idx="84">
                  <c:v>41.034705359863388</c:v>
                </c:pt>
                <c:pt idx="85">
                  <c:v>41.64373964172529</c:v>
                </c:pt>
                <c:pt idx="86">
                  <c:v>42.244656255553416</c:v>
                </c:pt>
                <c:pt idx="87">
                  <c:v>42.837117453848293</c:v>
                </c:pt>
                <c:pt idx="88">
                  <c:v>43.420807800606106</c:v>
                </c:pt>
                <c:pt idx="89">
                  <c:v>43.995434379197278</c:v>
                </c:pt>
                <c:pt idx="90">
                  <c:v>44.560726825978975</c:v>
                </c:pt>
                <c:pt idx="91">
                  <c:v>45.116437494036695</c:v>
                </c:pt>
                <c:pt idx="92">
                  <c:v>45.662341404173951</c:v>
                </c:pt>
                <c:pt idx="93">
                  <c:v>46.198236136862775</c:v>
                </c:pt>
                <c:pt idx="94">
                  <c:v>46.723941625818874</c:v>
                </c:pt>
                <c:pt idx="95">
                  <c:v>47.2393002846037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4.509934285686688</c:v>
                </c:pt>
                <c:pt idx="43">
                  <c:v>15.032270225287169</c:v>
                </c:pt>
                <c:pt idx="44">
                  <c:v>15.566641519249531</c:v>
                </c:pt>
                <c:pt idx="45">
                  <c:v>16.110849377710636</c:v>
                </c:pt>
                <c:pt idx="46">
                  <c:v>16.674747424208039</c:v>
                </c:pt>
                <c:pt idx="47">
                  <c:v>17.25417296592834</c:v>
                </c:pt>
                <c:pt idx="48">
                  <c:v>17.853969930916495</c:v>
                </c:pt>
                <c:pt idx="49">
                  <c:v>18.468466077766216</c:v>
                </c:pt>
                <c:pt idx="50">
                  <c:v>19.095190446098318</c:v>
                </c:pt>
                <c:pt idx="51">
                  <c:v>19.737528163341551</c:v>
                </c:pt>
                <c:pt idx="52">
                  <c:v>20.396476718373499</c:v>
                </c:pt>
                <c:pt idx="53">
                  <c:v>21.072315572873066</c:v>
                </c:pt>
                <c:pt idx="54">
                  <c:v>21.761907049422618</c:v>
                </c:pt>
                <c:pt idx="55">
                  <c:v>22.466345623795924</c:v>
                </c:pt>
                <c:pt idx="56">
                  <c:v>23.185567520826005</c:v>
                </c:pt>
                <c:pt idx="57">
                  <c:v>23.91987808754492</c:v>
                </c:pt>
                <c:pt idx="58">
                  <c:v>24.667623452571739</c:v>
                </c:pt>
                <c:pt idx="59">
                  <c:v>25.428537205372955</c:v>
                </c:pt>
                <c:pt idx="60">
                  <c:v>26.202251632206334</c:v>
                </c:pt>
                <c:pt idx="61">
                  <c:v>26.989244191226167</c:v>
                </c:pt>
                <c:pt idx="62">
                  <c:v>27.788441561936349</c:v>
                </c:pt>
                <c:pt idx="63">
                  <c:v>28.599142060341837</c:v>
                </c:pt>
                <c:pt idx="64">
                  <c:v>29.420699917176272</c:v>
                </c:pt>
                <c:pt idx="65">
                  <c:v>30.252438000614191</c:v>
                </c:pt>
                <c:pt idx="66">
                  <c:v>31.093651951847288</c:v>
                </c:pt>
                <c:pt idx="67">
                  <c:v>31.943591141502786</c:v>
                </c:pt>
                <c:pt idx="68">
                  <c:v>32.801462756030858</c:v>
                </c:pt>
                <c:pt idx="69">
                  <c:v>33.666435667104004</c:v>
                </c:pt>
                <c:pt idx="70">
                  <c:v>34.537645059345323</c:v>
                </c:pt>
                <c:pt idx="71">
                  <c:v>35.414196141547755</c:v>
                </c:pt>
                <c:pt idx="72">
                  <c:v>36.295175865278893</c:v>
                </c:pt>
                <c:pt idx="73">
                  <c:v>37.179657302007584</c:v>
                </c:pt>
                <c:pt idx="74">
                  <c:v>38.066700767863352</c:v>
                </c:pt>
                <c:pt idx="75">
                  <c:v>38.955355934391207</c:v>
                </c:pt>
                <c:pt idx="76">
                  <c:v>39.844666473347971</c:v>
                </c:pt>
                <c:pt idx="77">
                  <c:v>40.733673073915497</c:v>
                </c:pt>
                <c:pt idx="78">
                  <c:v>41.621418915468993</c:v>
                </c:pt>
                <c:pt idx="79">
                  <c:v>42.506954425112284</c:v>
                </c:pt>
                <c:pt idx="80">
                  <c:v>43.389341577465885</c:v>
                </c:pt>
                <c:pt idx="81">
                  <c:v>44.267657251026023</c:v>
                </c:pt>
                <c:pt idx="82">
                  <c:v>45.140996120918132</c:v>
                </c:pt>
                <c:pt idx="83">
                  <c:v>46.00847423019912</c:v>
                </c:pt>
                <c:pt idx="84">
                  <c:v>46.869231963452378</c:v>
                </c:pt>
                <c:pt idx="85">
                  <c:v>47.722437006620886</c:v>
                </c:pt>
                <c:pt idx="86">
                  <c:v>48.567287022627298</c:v>
                </c:pt>
                <c:pt idx="87">
                  <c:v>49.403012424738471</c:v>
                </c:pt>
                <c:pt idx="88">
                  <c:v>50.228878712108298</c:v>
                </c:pt>
                <c:pt idx="89">
                  <c:v>51.044188355744289</c:v>
                </c:pt>
                <c:pt idx="90">
                  <c:v>51.848282322229977</c:v>
                </c:pt>
                <c:pt idx="91">
                  <c:v>52.640541647498097</c:v>
                </c:pt>
                <c:pt idx="92">
                  <c:v>53.420388578765042</c:v>
                </c:pt>
                <c:pt idx="93">
                  <c:v>54.187287494314049</c:v>
                </c:pt>
                <c:pt idx="94">
                  <c:v>54.940745543778277</c:v>
                </c:pt>
                <c:pt idx="95">
                  <c:v>55.6803131763934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4.516195302666432</c:v>
                </c:pt>
                <c:pt idx="43">
                  <c:v>15.047756309116597</c:v>
                </c:pt>
                <c:pt idx="44">
                  <c:v>15.594868366985301</c:v>
                </c:pt>
                <c:pt idx="45">
                  <c:v>16.155892764383299</c:v>
                </c:pt>
                <c:pt idx="46">
                  <c:v>16.741231411671372</c:v>
                </c:pt>
                <c:pt idx="47">
                  <c:v>17.347293506757559</c:v>
                </c:pt>
                <c:pt idx="48">
                  <c:v>17.979474098887835</c:v>
                </c:pt>
                <c:pt idx="49">
                  <c:v>18.632641359496027</c:v>
                </c:pt>
                <c:pt idx="50">
                  <c:v>19.304831272384547</c:v>
                </c:pt>
                <c:pt idx="51">
                  <c:v>19.999890958986192</c:v>
                </c:pt>
                <c:pt idx="52">
                  <c:v>20.719260713740319</c:v>
                </c:pt>
                <c:pt idx="53">
                  <c:v>21.463635370939677</c:v>
                </c:pt>
                <c:pt idx="54">
                  <c:v>22.230276293380427</c:v>
                </c:pt>
                <c:pt idx="55">
                  <c:v>23.020624860167011</c:v>
                </c:pt>
                <c:pt idx="56">
                  <c:v>23.83492624828709</c:v>
                </c:pt>
                <c:pt idx="57">
                  <c:v>24.673756459330615</c:v>
                </c:pt>
                <c:pt idx="58">
                  <c:v>25.535696305188335</c:v>
                </c:pt>
                <c:pt idx="59">
                  <c:v>26.420669527777058</c:v>
                </c:pt>
                <c:pt idx="60">
                  <c:v>27.328450897073843</c:v>
                </c:pt>
                <c:pt idx="61">
                  <c:v>28.259611339624211</c:v>
                </c:pt>
                <c:pt idx="62">
                  <c:v>29.213126620124548</c:v>
                </c:pt>
                <c:pt idx="63">
                  <c:v>30.188288475945875</c:v>
                </c:pt>
                <c:pt idx="64">
                  <c:v>31.184389146678537</c:v>
                </c:pt>
                <c:pt idx="65">
                  <c:v>32.200639838607287</c:v>
                </c:pt>
                <c:pt idx="66">
                  <c:v>33.236175288926987</c:v>
                </c:pt>
                <c:pt idx="67">
                  <c:v>34.290027923678664</c:v>
                </c:pt>
                <c:pt idx="68">
                  <c:v>35.361133035975932</c:v>
                </c:pt>
                <c:pt idx="69">
                  <c:v>36.44833374793005</c:v>
                </c:pt>
                <c:pt idx="70">
                  <c:v>37.550387509121038</c:v>
                </c:pt>
                <c:pt idx="71">
                  <c:v>38.665971691280689</c:v>
                </c:pt>
                <c:pt idx="72">
                  <c:v>39.793700561743009</c:v>
                </c:pt>
                <c:pt idx="73">
                  <c:v>40.932132675162649</c:v>
                </c:pt>
                <c:pt idx="74">
                  <c:v>42.079774350123884</c:v>
                </c:pt>
                <c:pt idx="75">
                  <c:v>43.235084931102961</c:v>
                </c:pt>
                <c:pt idx="76">
                  <c:v>44.396485778708502</c:v>
                </c:pt>
                <c:pt idx="77">
                  <c:v>45.562367357753871</c:v>
                </c:pt>
                <c:pt idx="78">
                  <c:v>46.731099869677095</c:v>
                </c:pt>
                <c:pt idx="79">
                  <c:v>47.901043121055771</c:v>
                </c:pt>
                <c:pt idx="80">
                  <c:v>49.070555968690108</c:v>
                </c:pt>
                <c:pt idx="81">
                  <c:v>50.238004597945249</c:v>
                </c:pt>
                <c:pt idx="82">
                  <c:v>51.401770230045166</c:v>
                </c:pt>
                <c:pt idx="83">
                  <c:v>52.560257735173202</c:v>
                </c:pt>
                <c:pt idx="84">
                  <c:v>53.711903382498072</c:v>
                </c:pt>
                <c:pt idx="85">
                  <c:v>54.855182481716596</c:v>
                </c:pt>
                <c:pt idx="86">
                  <c:v>55.988616486505251</c:v>
                </c:pt>
                <c:pt idx="87">
                  <c:v>57.110780036376731</c:v>
                </c:pt>
                <c:pt idx="88">
                  <c:v>58.220307175250689</c:v>
                </c:pt>
                <c:pt idx="89">
                  <c:v>59.315896711132943</c:v>
                </c:pt>
                <c:pt idx="90">
                  <c:v>60.396316804486823</c:v>
                </c:pt>
                <c:pt idx="91">
                  <c:v>61.460409316980574</c:v>
                </c:pt>
                <c:pt idx="92">
                  <c:v>62.507093259027798</c:v>
                </c:pt>
                <c:pt idx="93">
                  <c:v>63.535367610956612</c:v>
                </c:pt>
                <c:pt idx="94">
                  <c:v>64.544313437234308</c:v>
                </c:pt>
                <c:pt idx="95">
                  <c:v>65.5330955250598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9</c:v>
                </c:pt>
                <c:pt idx="1">
                  <c:v>9</c:v>
                </c:pt>
                <c:pt idx="2">
                  <c:v>9</c:v>
                </c:pt>
                <c:pt idx="3">
                  <c:v>11</c:v>
                </c:pt>
                <c:pt idx="4">
                  <c:v>11</c:v>
                </c:pt>
                <c:pt idx="5">
                  <c:v>13</c:v>
                </c:pt>
                <c:pt idx="6">
                  <c:v>13</c:v>
                </c:pt>
                <c:pt idx="7">
                  <c:v>13</c:v>
                </c:pt>
                <c:pt idx="8">
                  <c:v>13</c:v>
                </c:pt>
                <c:pt idx="9">
                  <c:v>13</c:v>
                </c:pt>
                <c:pt idx="10">
                  <c:v>17</c:v>
                </c:pt>
                <c:pt idx="11">
                  <c:v>17</c:v>
                </c:pt>
                <c:pt idx="12">
                  <c:v>18</c:v>
                </c:pt>
                <c:pt idx="13">
                  <c:v>21</c:v>
                </c:pt>
                <c:pt idx="14">
                  <c:v>22</c:v>
                </c:pt>
                <c:pt idx="15">
                  <c:v>22</c:v>
                </c:pt>
                <c:pt idx="16">
                  <c:v>22</c:v>
                </c:pt>
                <c:pt idx="17">
                  <c:v>22</c:v>
                </c:pt>
                <c:pt idx="18">
                  <c:v>23</c:v>
                </c:pt>
                <c:pt idx="19">
                  <c:v>27</c:v>
                </c:pt>
                <c:pt idx="20">
                  <c:v>30</c:v>
                </c:pt>
                <c:pt idx="21">
                  <c:v>33</c:v>
                </c:pt>
                <c:pt idx="22">
                  <c:v>34</c:v>
                </c:pt>
                <c:pt idx="23">
                  <c:v>36</c:v>
                </c:pt>
                <c:pt idx="24">
                  <c:v>38</c:v>
                </c:pt>
                <c:pt idx="25">
                  <c:v>42</c:v>
                </c:pt>
                <c:pt idx="26">
                  <c:v>46</c:v>
                </c:pt>
                <c:pt idx="27">
                  <c:v>47</c:v>
                </c:pt>
                <c:pt idx="28">
                  <c:v>48</c:v>
                </c:pt>
                <c:pt idx="29">
                  <c:v>51</c:v>
                </c:pt>
                <c:pt idx="30">
                  <c:v>52</c:v>
                </c:pt>
                <c:pt idx="31">
                  <c:v>61</c:v>
                </c:pt>
                <c:pt idx="32">
                  <c:v>63</c:v>
                </c:pt>
                <c:pt idx="33">
                  <c:v>65</c:v>
                </c:pt>
                <c:pt idx="34">
                  <c:v>68</c:v>
                </c:pt>
                <c:pt idx="35">
                  <c:v>73</c:v>
                </c:pt>
                <c:pt idx="36">
                  <c:v>78</c:v>
                </c:pt>
                <c:pt idx="37">
                  <c:v>79</c:v>
                </c:pt>
                <c:pt idx="38">
                  <c:v>86</c:v>
                </c:pt>
                <c:pt idx="39">
                  <c:v>90</c:v>
                </c:pt>
                <c:pt idx="40">
                  <c:v>93</c:v>
                </c:pt>
                <c:pt idx="41">
                  <c:v>97</c:v>
                </c:pt>
                <c:pt idx="42">
                  <c:v>99</c:v>
                </c:pt>
                <c:pt idx="43">
                  <c:v>103</c:v>
                </c:pt>
                <c:pt idx="44">
                  <c:v>107</c:v>
                </c:pt>
                <c:pt idx="45">
                  <c:v>112</c:v>
                </c:pt>
                <c:pt idx="46">
                  <c:v>1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01.35036265059901</c:v>
                </c:pt>
                <c:pt idx="43">
                  <c:v>105.80182889914688</c:v>
                </c:pt>
                <c:pt idx="44">
                  <c:v>110.34166012798114</c:v>
                </c:pt>
                <c:pt idx="45">
                  <c:v>114.94439145623684</c:v>
                </c:pt>
                <c:pt idx="46">
                  <c:v>119.70072064314328</c:v>
                </c:pt>
                <c:pt idx="47">
                  <c:v>124.561707253809</c:v>
                </c:pt>
                <c:pt idx="48">
                  <c:v>129.54726362980421</c:v>
                </c:pt>
                <c:pt idx="49">
                  <c:v>134.61523551260586</c:v>
                </c:pt>
                <c:pt idx="50">
                  <c:v>139.74955704900694</c:v>
                </c:pt>
                <c:pt idx="51">
                  <c:v>144.96112105801319</c:v>
                </c:pt>
                <c:pt idx="52">
                  <c:v>150.24457859945861</c:v>
                </c:pt>
                <c:pt idx="53">
                  <c:v>155.61921877151997</c:v>
                </c:pt>
                <c:pt idx="54">
                  <c:v>161.05950763354457</c:v>
                </c:pt>
                <c:pt idx="55">
                  <c:v>166.56239124582552</c:v>
                </c:pt>
                <c:pt idx="56">
                  <c:v>172.12161392552827</c:v>
                </c:pt>
                <c:pt idx="57">
                  <c:v>177.73665885658201</c:v>
                </c:pt>
                <c:pt idx="58">
                  <c:v>183.39713073747774</c:v>
                </c:pt>
                <c:pt idx="59">
                  <c:v>189.095496988218</c:v>
                </c:pt>
                <c:pt idx="60">
                  <c:v>194.82864480021595</c:v>
                </c:pt>
                <c:pt idx="61">
                  <c:v>200.60753003064821</c:v>
                </c:pt>
                <c:pt idx="62">
                  <c:v>206.41921944089893</c:v>
                </c:pt>
                <c:pt idx="63">
                  <c:v>212.25739165777173</c:v>
                </c:pt>
                <c:pt idx="64">
                  <c:v>218.11730206207289</c:v>
                </c:pt>
                <c:pt idx="65">
                  <c:v>223.99421503424199</c:v>
                </c:pt>
                <c:pt idx="66">
                  <c:v>229.8834309411881</c:v>
                </c:pt>
                <c:pt idx="67">
                  <c:v>235.7801576238675</c:v>
                </c:pt>
                <c:pt idx="68">
                  <c:v>241.67953902167793</c:v>
                </c:pt>
                <c:pt idx="69">
                  <c:v>247.5766720456345</c:v>
                </c:pt>
                <c:pt idx="70">
                  <c:v>253.46662735569836</c:v>
                </c:pt>
                <c:pt idx="71">
                  <c:v>259.34446225459834</c:v>
                </c:pt>
                <c:pt idx="72">
                  <c:v>265.20529240110585</c:v>
                </c:pt>
                <c:pt idx="73">
                  <c:v>271.04431227030477</c:v>
                </c:pt>
                <c:pt idx="74">
                  <c:v>276.85679355832701</c:v>
                </c:pt>
                <c:pt idx="75">
                  <c:v>282.63808508685537</c:v>
                </c:pt>
                <c:pt idx="76">
                  <c:v>288.38363320888368</c:v>
                </c:pt>
                <c:pt idx="77">
                  <c:v>294.08898848532499</c:v>
                </c:pt>
                <c:pt idx="78">
                  <c:v>299.74982546777926</c:v>
                </c:pt>
                <c:pt idx="79">
                  <c:v>305.36195827231757</c:v>
                </c:pt>
                <c:pt idx="80">
                  <c:v>310.92135634892611</c:v>
                </c:pt>
                <c:pt idx="81">
                  <c:v>316.4241531200222</c:v>
                </c:pt>
                <c:pt idx="82">
                  <c:v>321.86664682448225</c:v>
                </c:pt>
                <c:pt idx="83">
                  <c:v>327.2453092287688</c:v>
                </c:pt>
                <c:pt idx="84">
                  <c:v>332.55679142194219</c:v>
                </c:pt>
                <c:pt idx="85">
                  <c:v>337.79792938822885</c:v>
                </c:pt>
                <c:pt idx="86">
                  <c:v>342.96574758153542</c:v>
                </c:pt>
                <c:pt idx="87">
                  <c:v>348.05746491744816</c:v>
                </c:pt>
                <c:pt idx="88">
                  <c:v>353.07049905221231</c:v>
                </c:pt>
                <c:pt idx="89">
                  <c:v>358.00246666457235</c:v>
                </c:pt>
                <c:pt idx="90">
                  <c:v>362.85118174573114</c:v>
                </c:pt>
                <c:pt idx="91">
                  <c:v>367.61465672092964</c:v>
                </c:pt>
                <c:pt idx="92">
                  <c:v>372.29110132061612</c:v>
                </c:pt>
                <c:pt idx="93">
                  <c:v>376.87892107655802</c:v>
                </c:pt>
                <c:pt idx="94">
                  <c:v>381.37671477232738</c:v>
                </c:pt>
                <c:pt idx="95">
                  <c:v>385.783277659731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01.40993922253396</c:v>
                </c:pt>
                <c:pt idx="43">
                  <c:v>105.94856732042177</c:v>
                </c:pt>
                <c:pt idx="44">
                  <c:v>110.60774168718402</c:v>
                </c:pt>
                <c:pt idx="45">
                  <c:v>115.36652218736174</c:v>
                </c:pt>
                <c:pt idx="46">
                  <c:v>120.31989775477575</c:v>
                </c:pt>
                <c:pt idx="47">
                  <c:v>125.42330964611899</c:v>
                </c:pt>
                <c:pt idx="48">
                  <c:v>130.70062015160752</c:v>
                </c:pt>
                <c:pt idx="49">
                  <c:v>136.11336979535065</c:v>
                </c:pt>
                <c:pt idx="50">
                  <c:v>141.64881778466685</c:v>
                </c:pt>
                <c:pt idx="51">
                  <c:v>147.32070749077283</c:v>
                </c:pt>
                <c:pt idx="52">
                  <c:v>153.12625243528481</c:v>
                </c:pt>
                <c:pt idx="53">
                  <c:v>159.08693069898294</c:v>
                </c:pt>
                <c:pt idx="54">
                  <c:v>165.17932456437862</c:v>
                </c:pt>
                <c:pt idx="55">
                  <c:v>171.40199638082927</c:v>
                </c:pt>
                <c:pt idx="56">
                  <c:v>177.7499319433183</c:v>
                </c:pt>
                <c:pt idx="57">
                  <c:v>184.22352414941943</c:v>
                </c:pt>
                <c:pt idx="58">
                  <c:v>190.81301074345572</c:v>
                </c:pt>
                <c:pt idx="59">
                  <c:v>197.51118233912149</c:v>
                </c:pt>
                <c:pt idx="60">
                  <c:v>204.31492910747227</c:v>
                </c:pt>
                <c:pt idx="61">
                  <c:v>211.23489701983402</c:v>
                </c:pt>
                <c:pt idx="62">
                  <c:v>218.25763858744409</c:v>
                </c:pt>
                <c:pt idx="63">
                  <c:v>225.37595569192933</c:v>
                </c:pt>
                <c:pt idx="64">
                  <c:v>232.58389125524366</c:v>
                </c:pt>
                <c:pt idx="65">
                  <c:v>239.87522813431383</c:v>
                </c:pt>
                <c:pt idx="66">
                  <c:v>247.24353455658579</c:v>
                </c:pt>
                <c:pt idx="67">
                  <c:v>254.6819959375681</c:v>
                </c:pt>
                <c:pt idx="68">
                  <c:v>262.18346245798443</c:v>
                </c:pt>
                <c:pt idx="69">
                  <c:v>269.74047841703157</c:v>
                </c:pt>
                <c:pt idx="70">
                  <c:v>277.34531920152233</c:v>
                </c:pt>
                <c:pt idx="71">
                  <c:v>284.99001721470609</c:v>
                </c:pt>
                <c:pt idx="72">
                  <c:v>292.66647386216107</c:v>
                </c:pt>
                <c:pt idx="73">
                  <c:v>300.36649968416646</c:v>
                </c:pt>
                <c:pt idx="74">
                  <c:v>308.08182553525558</c:v>
                </c:pt>
                <c:pt idx="75">
                  <c:v>315.80411806592514</c:v>
                </c:pt>
                <c:pt idx="76">
                  <c:v>323.52502428185852</c:v>
                </c:pt>
                <c:pt idx="77">
                  <c:v>331.23619760837357</c:v>
                </c:pt>
                <c:pt idx="78">
                  <c:v>338.92934267564965</c:v>
                </c:pt>
                <c:pt idx="79">
                  <c:v>346.59625462384207</c:v>
                </c:pt>
                <c:pt idx="80">
                  <c:v>354.22885926273295</c:v>
                </c:pt>
                <c:pt idx="81">
                  <c:v>361.81924316986073</c:v>
                </c:pt>
                <c:pt idx="82">
                  <c:v>369.35967301620798</c:v>
                </c:pt>
                <c:pt idx="83">
                  <c:v>376.84262552484995</c:v>
                </c:pt>
                <c:pt idx="84">
                  <c:v>384.26081272632263</c:v>
                </c:pt>
                <c:pt idx="85">
                  <c:v>391.60720642554242</c:v>
                </c:pt>
                <c:pt idx="86">
                  <c:v>398.87505904384005</c:v>
                </c:pt>
                <c:pt idx="87">
                  <c:v>406.05792706136617</c:v>
                </c:pt>
                <c:pt idx="88">
                  <c:v>413.14969097776498</c:v>
                </c:pt>
                <c:pt idx="89">
                  <c:v>420.14456873284081</c:v>
                </c:pt>
                <c:pt idx="90">
                  <c:v>427.03712525498747</c:v>
                </c:pt>
                <c:pt idx="91">
                  <c:v>433.82228473372209</c:v>
                </c:pt>
                <c:pt idx="92">
                  <c:v>440.49533853304177</c:v>
                </c:pt>
                <c:pt idx="93">
                  <c:v>447.05195133730842</c:v>
                </c:pt>
                <c:pt idx="94">
                  <c:v>453.48816458732625</c:v>
                </c:pt>
                <c:pt idx="95">
                  <c:v>459.800399853234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01.46985371198997</c:v>
                </c:pt>
                <c:pt idx="43">
                  <c:v>106.09655576711351</c:v>
                </c:pt>
                <c:pt idx="44">
                  <c:v>110.87698398193528</c:v>
                </c:pt>
                <c:pt idx="45">
                  <c:v>115.79526330818071</c:v>
                </c:pt>
                <c:pt idx="46">
                  <c:v>120.95132375769259</c:v>
                </c:pt>
                <c:pt idx="47">
                  <c:v>126.30574248307393</c:v>
                </c:pt>
                <c:pt idx="48">
                  <c:v>131.88718228159917</c:v>
                </c:pt>
                <c:pt idx="49">
                  <c:v>137.66181963100851</c:v>
                </c:pt>
                <c:pt idx="50">
                  <c:v>143.62125802720851</c:v>
                </c:pt>
                <c:pt idx="51">
                  <c:v>149.78317736637149</c:v>
                </c:pt>
                <c:pt idx="52">
                  <c:v>156.1484912179379</c:v>
                </c:pt>
                <c:pt idx="53">
                  <c:v>162.74203506779449</c:v>
                </c:pt>
                <c:pt idx="54">
                  <c:v>169.5436885604185</c:v>
                </c:pt>
                <c:pt idx="55">
                  <c:v>176.55480371161232</c:v>
                </c:pt>
                <c:pt idx="56">
                  <c:v>183.77276118310206</c:v>
                </c:pt>
                <c:pt idx="57">
                  <c:v>191.19997279012307</c:v>
                </c:pt>
                <c:pt idx="58">
                  <c:v>198.82835892952681</c:v>
                </c:pt>
                <c:pt idx="59">
                  <c:v>206.65200416393498</c:v>
                </c:pt>
                <c:pt idx="60">
                  <c:v>214.6686687686265</c:v>
                </c:pt>
                <c:pt idx="61">
                  <c:v>222.8894345264651</c:v>
                </c:pt>
                <c:pt idx="62">
                  <c:v>231.30094567880786</c:v>
                </c:pt>
                <c:pt idx="63">
                  <c:v>239.89557997052449</c:v>
                </c:pt>
                <c:pt idx="64">
                  <c:v>248.6664537385781</c:v>
                </c:pt>
                <c:pt idx="65">
                  <c:v>257.6059871537035</c:v>
                </c:pt>
                <c:pt idx="66">
                  <c:v>266.70595999598385</c:v>
                </c:pt>
                <c:pt idx="67">
                  <c:v>275.95728532897618</c:v>
                </c:pt>
                <c:pt idx="68">
                  <c:v>285.35007381180526</c:v>
                </c:pt>
                <c:pt idx="69">
                  <c:v>294.87367401665733</c:v>
                </c:pt>
                <c:pt idx="70">
                  <c:v>304.51672755826667</c:v>
                </c:pt>
                <c:pt idx="71">
                  <c:v>314.26721172650264</c:v>
                </c:pt>
                <c:pt idx="72">
                  <c:v>324.11260413880927</c:v>
                </c:pt>
                <c:pt idx="73">
                  <c:v>334.03995248677518</c:v>
                </c:pt>
                <c:pt idx="74">
                  <c:v>344.03590921100067</c:v>
                </c:pt>
                <c:pt idx="75">
                  <c:v>354.08677608155602</c:v>
                </c:pt>
                <c:pt idx="76">
                  <c:v>364.17859028064964</c:v>
                </c:pt>
                <c:pt idx="77">
                  <c:v>374.29718774317843</c:v>
                </c:pt>
                <c:pt idx="78">
                  <c:v>384.42829352551024</c:v>
                </c:pt>
                <c:pt idx="79">
                  <c:v>394.55760615757902</c:v>
                </c:pt>
                <c:pt idx="80">
                  <c:v>404.67088454755503</c:v>
                </c:pt>
                <c:pt idx="81">
                  <c:v>414.7540216717569</c:v>
                </c:pt>
                <c:pt idx="82">
                  <c:v>424.79310402137884</c:v>
                </c:pt>
                <c:pt idx="83">
                  <c:v>434.77448493060655</c:v>
                </c:pt>
                <c:pt idx="84">
                  <c:v>444.6848505386958</c:v>
                </c:pt>
                <c:pt idx="85">
                  <c:v>454.51128355693328</c:v>
                </c:pt>
                <c:pt idx="86">
                  <c:v>464.24132043390392</c:v>
                </c:pt>
                <c:pt idx="87">
                  <c:v>473.86301012003435</c:v>
                </c:pt>
                <c:pt idx="88">
                  <c:v>483.36496578902626</c:v>
                </c:pt>
                <c:pt idx="89">
                  <c:v>492.73640535524567</c:v>
                </c:pt>
                <c:pt idx="90">
                  <c:v>501.96718413319701</c:v>
                </c:pt>
                <c:pt idx="91">
                  <c:v>511.0478283337564</c:v>
                </c:pt>
                <c:pt idx="92">
                  <c:v>519.96955980920234</c:v>
                </c:pt>
                <c:pt idx="93">
                  <c:v>528.72431552200487</c:v>
                </c:pt>
                <c:pt idx="94">
                  <c:v>537.30476047858497</c:v>
                </c:pt>
                <c:pt idx="95">
                  <c:v>545.704297797370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8</c:v>
                </c:pt>
                <c:pt idx="6">
                  <c:v>8</c:v>
                </c:pt>
                <c:pt idx="7">
                  <c:v>8</c:v>
                </c:pt>
                <c:pt idx="8">
                  <c:v>8</c:v>
                </c:pt>
                <c:pt idx="9">
                  <c:v>8</c:v>
                </c:pt>
                <c:pt idx="10">
                  <c:v>8</c:v>
                </c:pt>
                <c:pt idx="11">
                  <c:v>8</c:v>
                </c:pt>
                <c:pt idx="12">
                  <c:v>8</c:v>
                </c:pt>
                <c:pt idx="13">
                  <c:v>8</c:v>
                </c:pt>
                <c:pt idx="14">
                  <c:v>9</c:v>
                </c:pt>
                <c:pt idx="15">
                  <c:v>9</c:v>
                </c:pt>
                <c:pt idx="16">
                  <c:v>10</c:v>
                </c:pt>
                <c:pt idx="17">
                  <c:v>11</c:v>
                </c:pt>
                <c:pt idx="18">
                  <c:v>11</c:v>
                </c:pt>
                <c:pt idx="19">
                  <c:v>11</c:v>
                </c:pt>
                <c:pt idx="20">
                  <c:v>11</c:v>
                </c:pt>
                <c:pt idx="21">
                  <c:v>13</c:v>
                </c:pt>
                <c:pt idx="22">
                  <c:v>13</c:v>
                </c:pt>
                <c:pt idx="23">
                  <c:v>14</c:v>
                </c:pt>
                <c:pt idx="24">
                  <c:v>14</c:v>
                </c:pt>
                <c:pt idx="25">
                  <c:v>15</c:v>
                </c:pt>
                <c:pt idx="26">
                  <c:v>15</c:v>
                </c:pt>
                <c:pt idx="27">
                  <c:v>17</c:v>
                </c:pt>
                <c:pt idx="28">
                  <c:v>18</c:v>
                </c:pt>
                <c:pt idx="29">
                  <c:v>19</c:v>
                </c:pt>
                <c:pt idx="30">
                  <c:v>19</c:v>
                </c:pt>
                <c:pt idx="31">
                  <c:v>21</c:v>
                </c:pt>
                <c:pt idx="32">
                  <c:v>21</c:v>
                </c:pt>
                <c:pt idx="33">
                  <c:v>21</c:v>
                </c:pt>
                <c:pt idx="34">
                  <c:v>22</c:v>
                </c:pt>
                <c:pt idx="35">
                  <c:v>22</c:v>
                </c:pt>
                <c:pt idx="36">
                  <c:v>24</c:v>
                </c:pt>
                <c:pt idx="37">
                  <c:v>25</c:v>
                </c:pt>
                <c:pt idx="38">
                  <c:v>28</c:v>
                </c:pt>
                <c:pt idx="39">
                  <c:v>28</c:v>
                </c:pt>
                <c:pt idx="40">
                  <c:v>29</c:v>
                </c:pt>
                <c:pt idx="41">
                  <c:v>29</c:v>
                </c:pt>
                <c:pt idx="42">
                  <c:v>34</c:v>
                </c:pt>
                <c:pt idx="43">
                  <c:v>36</c:v>
                </c:pt>
                <c:pt idx="44">
                  <c:v>39</c:v>
                </c:pt>
                <c:pt idx="45">
                  <c:v>44</c:v>
                </c:pt>
                <c:pt idx="46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0.15772013356511</c:v>
                </c:pt>
                <c:pt idx="43">
                  <c:v>31.337540188533374</c:v>
                </c:pt>
                <c:pt idx="44">
                  <c:v>32.537379055201932</c:v>
                </c:pt>
                <c:pt idx="45">
                  <c:v>33.750996569232363</c:v>
                </c:pt>
                <c:pt idx="46">
                  <c:v>35.000076895718543</c:v>
                </c:pt>
                <c:pt idx="47">
                  <c:v>36.273799787476221</c:v>
                </c:pt>
                <c:pt idx="48">
                  <c:v>37.581988228591491</c:v>
                </c:pt>
                <c:pt idx="49">
                  <c:v>38.910749062810282</c:v>
                </c:pt>
                <c:pt idx="50">
                  <c:v>40.253618234269524</c:v>
                </c:pt>
                <c:pt idx="51">
                  <c:v>41.617372446157859</c:v>
                </c:pt>
                <c:pt idx="52">
                  <c:v>43.003419514144824</c:v>
                </c:pt>
                <c:pt idx="53">
                  <c:v>44.412024217011236</c:v>
                </c:pt>
                <c:pt idx="54">
                  <c:v>45.835421759993665</c:v>
                </c:pt>
                <c:pt idx="55">
                  <c:v>47.275489815694826</c:v>
                </c:pt>
                <c:pt idx="56">
                  <c:v>48.731621180851917</c:v>
                </c:pt>
                <c:pt idx="57">
                  <c:v>50.204169083051255</c:v>
                </c:pt>
                <c:pt idx="58">
                  <c:v>51.689150441126387</c:v>
                </c:pt>
                <c:pt idx="59">
                  <c:v>53.185722526802707</c:v>
                </c:pt>
                <c:pt idx="60">
                  <c:v>54.692966499670085</c:v>
                </c:pt>
                <c:pt idx="61">
                  <c:v>56.212081951136639</c:v>
                </c:pt>
                <c:pt idx="62">
                  <c:v>57.740620370860043</c:v>
                </c:pt>
                <c:pt idx="63">
                  <c:v>59.277121578288543</c:v>
                </c:pt>
                <c:pt idx="64">
                  <c:v>60.820351138017188</c:v>
                </c:pt>
                <c:pt idx="65">
                  <c:v>62.369074867069791</c:v>
                </c:pt>
                <c:pt idx="66">
                  <c:v>63.922064795584511</c:v>
                </c:pt>
                <c:pt idx="67">
                  <c:v>65.478065763730342</c:v>
                </c:pt>
                <c:pt idx="68">
                  <c:v>67.035801107773821</c:v>
                </c:pt>
                <c:pt idx="69">
                  <c:v>68.593978113871216</c:v>
                </c:pt>
                <c:pt idx="70">
                  <c:v>70.151294308464117</c:v>
                </c:pt>
                <c:pt idx="71">
                  <c:v>71.706442104602047</c:v>
                </c:pt>
                <c:pt idx="72">
                  <c:v>73.25812625167903</c:v>
                </c:pt>
                <c:pt idx="73">
                  <c:v>74.805069011604672</c:v>
                </c:pt>
                <c:pt idx="74">
                  <c:v>76.346009609130903</c:v>
                </c:pt>
                <c:pt idx="75">
                  <c:v>77.879704897139504</c:v>
                </c:pt>
                <c:pt idx="76">
                  <c:v>79.404934131738798</c:v>
                </c:pt>
                <c:pt idx="77">
                  <c:v>80.920500864023637</c:v>
                </c:pt>
                <c:pt idx="78">
                  <c:v>82.425238759835622</c:v>
                </c:pt>
                <c:pt idx="79">
                  <c:v>83.918016154975561</c:v>
                </c:pt>
                <c:pt idx="80">
                  <c:v>85.397739780085004</c:v>
                </c:pt>
                <c:pt idx="81">
                  <c:v>86.863356875587954</c:v>
                </c:pt>
                <c:pt idx="82">
                  <c:v>88.313856467633485</c:v>
                </c:pt>
                <c:pt idx="83">
                  <c:v>89.748271854102086</c:v>
                </c:pt>
                <c:pt idx="84">
                  <c:v>91.16568217907782</c:v>
                </c:pt>
                <c:pt idx="85">
                  <c:v>92.565214048636733</c:v>
                </c:pt>
                <c:pt idx="86">
                  <c:v>93.946042796928083</c:v>
                </c:pt>
                <c:pt idx="87">
                  <c:v>95.307394075713148</c:v>
                </c:pt>
                <c:pt idx="88">
                  <c:v>96.64854490305234</c:v>
                </c:pt>
                <c:pt idx="89">
                  <c:v>97.968824119623193</c:v>
                </c:pt>
                <c:pt idx="90">
                  <c:v>99.267612437601514</c:v>
                </c:pt>
                <c:pt idx="91">
                  <c:v>100.54434281285333</c:v>
                </c:pt>
                <c:pt idx="92">
                  <c:v>101.79850032228228</c:v>
                </c:pt>
                <c:pt idx="93">
                  <c:v>103.02962190739446</c:v>
                </c:pt>
                <c:pt idx="94">
                  <c:v>104.23729588897793</c:v>
                </c:pt>
                <c:pt idx="95">
                  <c:v>105.421162288197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0.172111470168396</c:v>
                </c:pt>
                <c:pt idx="43">
                  <c:v>31.373032906091822</c:v>
                </c:pt>
                <c:pt idx="44">
                  <c:v>32.601851783546977</c:v>
                </c:pt>
                <c:pt idx="45">
                  <c:v>33.853486762101753</c:v>
                </c:pt>
                <c:pt idx="46">
                  <c:v>35.150725569195586</c:v>
                </c:pt>
                <c:pt idx="47">
                  <c:v>36.483878618716687</c:v>
                </c:pt>
                <c:pt idx="48">
                  <c:v>37.863824220626917</c:v>
                </c:pt>
                <c:pt idx="49">
                  <c:v>39.277674696804084</c:v>
                </c:pt>
                <c:pt idx="50">
                  <c:v>40.719872797392178</c:v>
                </c:pt>
                <c:pt idx="51">
                  <c:v>42.19797911698393</c:v>
                </c:pt>
                <c:pt idx="52">
                  <c:v>43.714124553670636</c:v>
                </c:pt>
                <c:pt idx="53">
                  <c:v>45.269221837981718</c:v>
                </c:pt>
                <c:pt idx="54">
                  <c:v>46.856111573699408</c:v>
                </c:pt>
                <c:pt idx="55">
                  <c:v>48.477154823703884</c:v>
                </c:pt>
                <c:pt idx="56">
                  <c:v>50.132141696993301</c:v>
                </c:pt>
                <c:pt idx="57">
                  <c:v>51.821742167075314</c:v>
                </c:pt>
                <c:pt idx="58">
                  <c:v>53.542219125786673</c:v>
                </c:pt>
                <c:pt idx="59">
                  <c:v>55.292890633238756</c:v>
                </c:pt>
                <c:pt idx="60">
                  <c:v>57.072912475006007</c:v>
                </c:pt>
                <c:pt idx="61">
                  <c:v>58.883474552537976</c:v>
                </c:pt>
                <c:pt idx="62">
                  <c:v>60.722050697708923</c:v>
                </c:pt>
                <c:pt idx="63">
                  <c:v>62.58701202479952</c:v>
                </c:pt>
                <c:pt idx="64">
                  <c:v>64.476868915604015</c:v>
                </c:pt>
                <c:pt idx="65">
                  <c:v>66.390059821681263</c:v>
                </c:pt>
                <c:pt idx="66">
                  <c:v>68.324960907375299</c:v>
                </c:pt>
                <c:pt idx="67">
                  <c:v>70.279842227575813</c:v>
                </c:pt>
                <c:pt idx="68">
                  <c:v>72.252877294086773</c:v>
                </c:pt>
                <c:pt idx="69">
                  <c:v>74.242151911358647</c:v>
                </c:pt>
                <c:pt idx="70">
                  <c:v>76.245674770285021</c:v>
                </c:pt>
                <c:pt idx="71">
                  <c:v>78.261385891179145</c:v>
                </c:pt>
                <c:pt idx="72">
                  <c:v>80.287183710580734</c:v>
                </c:pt>
                <c:pt idx="73">
                  <c:v>82.320935174640113</c:v>
                </c:pt>
                <c:pt idx="74">
                  <c:v>84.360478345042452</c:v>
                </c:pt>
                <c:pt idx="75">
                  <c:v>86.403627211369283</c:v>
                </c:pt>
                <c:pt idx="76">
                  <c:v>88.448182429694114</c:v>
                </c:pt>
                <c:pt idx="77">
                  <c:v>90.491938257404371</c:v>
                </c:pt>
                <c:pt idx="78">
                  <c:v>92.532695096575765</c:v>
                </c:pt>
                <c:pt idx="79">
                  <c:v>94.568270403348421</c:v>
                </c:pt>
                <c:pt idx="80">
                  <c:v>96.596508613418408</c:v>
                </c:pt>
                <c:pt idx="81">
                  <c:v>98.615288872017729</c:v>
                </c:pt>
                <c:pt idx="82">
                  <c:v>100.62253160234108</c:v>
                </c:pt>
                <c:pt idx="83">
                  <c:v>102.61620670123962</c:v>
                </c:pt>
                <c:pt idx="84">
                  <c:v>104.59434036765838</c:v>
                </c:pt>
                <c:pt idx="85">
                  <c:v>106.55502188994588</c:v>
                </c:pt>
                <c:pt idx="86">
                  <c:v>108.49640976333143</c:v>
                </c:pt>
                <c:pt idx="87">
                  <c:v>110.41673805696801</c:v>
                </c:pt>
                <c:pt idx="88">
                  <c:v>112.31432177893865</c:v>
                </c:pt>
                <c:pt idx="89">
                  <c:v>114.18756117026967</c:v>
                </c:pt>
                <c:pt idx="90">
                  <c:v>116.0349451558165</c:v>
                </c:pt>
                <c:pt idx="91">
                  <c:v>117.85505494269401</c:v>
                </c:pt>
                <c:pt idx="92">
                  <c:v>119.64656661724251</c:v>
                </c:pt>
                <c:pt idx="93">
                  <c:v>121.40825323354726</c:v>
                </c:pt>
                <c:pt idx="94">
                  <c:v>123.13898625536046</c:v>
                </c:pt>
                <c:pt idx="95">
                  <c:v>124.837736753361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0.186584583560577</c:v>
                </c:pt>
                <c:pt idx="43">
                  <c:v>31.408827994121978</c:v>
                </c:pt>
                <c:pt idx="44">
                  <c:v>32.667089240815322</c:v>
                </c:pt>
                <c:pt idx="45">
                  <c:v>33.957577494533034</c:v>
                </c:pt>
                <c:pt idx="46">
                  <c:v>35.304343578838029</c:v>
                </c:pt>
                <c:pt idx="47">
                  <c:v>36.699015126520337</c:v>
                </c:pt>
                <c:pt idx="48">
                  <c:v>38.153737717035362</c:v>
                </c:pt>
                <c:pt idx="49">
                  <c:v>39.656865307485091</c:v>
                </c:pt>
                <c:pt idx="50">
                  <c:v>41.204005322141818</c:v>
                </c:pt>
                <c:pt idx="51">
                  <c:v>42.803779439359616</c:v>
                </c:pt>
                <c:pt idx="52">
                  <c:v>44.459334534832657</c:v>
                </c:pt>
                <c:pt idx="53">
                  <c:v>46.172534765531076</c:v>
                </c:pt>
                <c:pt idx="54">
                  <c:v>47.93713577255285</c:v>
                </c:pt>
                <c:pt idx="55">
                  <c:v>49.756293010797606</c:v>
                </c:pt>
                <c:pt idx="56">
                  <c:v>51.630502803834631</c:v>
                </c:pt>
                <c:pt idx="57">
                  <c:v>53.561052675906936</c:v>
                </c:pt>
                <c:pt idx="58">
                  <c:v>55.544740030431448</c:v>
                </c:pt>
                <c:pt idx="59">
                  <c:v>57.58131503155937</c:v>
                </c:pt>
                <c:pt idx="60">
                  <c:v>59.670255835173819</c:v>
                </c:pt>
                <c:pt idx="61">
                  <c:v>61.812961901061257</c:v>
                </c:pt>
                <c:pt idx="62">
                  <c:v>64.007015166041327</c:v>
                </c:pt>
                <c:pt idx="63">
                  <c:v>66.250766413909517</c:v>
                </c:pt>
                <c:pt idx="64">
                  <c:v>68.542577997717231</c:v>
                </c:pt>
                <c:pt idx="65">
                  <c:v>70.880626076539855</c:v>
                </c:pt>
                <c:pt idx="66">
                  <c:v>73.26291133783522</c:v>
                </c:pt>
                <c:pt idx="67">
                  <c:v>75.68719955774867</c:v>
                </c:pt>
                <c:pt idx="68">
                  <c:v>78.151033780574636</c:v>
                </c:pt>
                <c:pt idx="69">
                  <c:v>80.651745687221648</c:v>
                </c:pt>
                <c:pt idx="70">
                  <c:v>83.186470517126693</c:v>
                </c:pt>
                <c:pt idx="71">
                  <c:v>85.752159846368215</c:v>
                </c:pt>
                <c:pt idx="72">
                  <c:v>88.345620855463622</c:v>
                </c:pt>
                <c:pt idx="73">
                  <c:v>90.963533402223021</c:v>
                </c:pt>
                <c:pt idx="74">
                  <c:v>93.602458078297914</c:v>
                </c:pt>
                <c:pt idx="75">
                  <c:v>96.25884829096097</c:v>
                </c:pt>
                <c:pt idx="76">
                  <c:v>98.92907104587988</c:v>
                </c:pt>
                <c:pt idx="77">
                  <c:v>101.60942326840595</c:v>
                </c:pt>
                <c:pt idx="78">
                  <c:v>104.29615622034007</c:v>
                </c:pt>
                <c:pt idx="79">
                  <c:v>106.98549816918485</c:v>
                </c:pt>
                <c:pt idx="80">
                  <c:v>109.67367617226405</c:v>
                </c:pt>
                <c:pt idx="81">
                  <c:v>112.35693513470292</c:v>
                </c:pt>
                <c:pt idx="82">
                  <c:v>115.03155542284121</c:v>
                </c:pt>
                <c:pt idx="83">
                  <c:v>117.69387264547764</c:v>
                </c:pt>
                <c:pt idx="84">
                  <c:v>120.3402954526794</c:v>
                </c:pt>
                <c:pt idx="85">
                  <c:v>122.9673230674079</c:v>
                </c:pt>
                <c:pt idx="86">
                  <c:v>125.57156155267812</c:v>
                </c:pt>
                <c:pt idx="87">
                  <c:v>128.14973996737905</c:v>
                </c:pt>
                <c:pt idx="88">
                  <c:v>130.69872463081532</c:v>
                </c:pt>
                <c:pt idx="89">
                  <c:v>133.2155313594757</c:v>
                </c:pt>
                <c:pt idx="90">
                  <c:v>135.69733591406344</c:v>
                </c:pt>
                <c:pt idx="91">
                  <c:v>138.14148393700106</c:v>
                </c:pt>
                <c:pt idx="92">
                  <c:v>140.54549880488037</c:v>
                </c:pt>
                <c:pt idx="93">
                  <c:v>142.90708804315955</c:v>
                </c:pt>
                <c:pt idx="94">
                  <c:v>145.22414810993371</c:v>
                </c:pt>
                <c:pt idx="95">
                  <c:v>147.494768104135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3</c:v>
                </c:pt>
                <c:pt idx="4">
                  <c:v>3</c:v>
                </c:pt>
                <c:pt idx="5">
                  <c:v>4</c:v>
                </c:pt>
                <c:pt idx="6">
                  <c:v>4</c:v>
                </c:pt>
                <c:pt idx="7">
                  <c:v>6</c:v>
                </c:pt>
                <c:pt idx="8">
                  <c:v>6</c:v>
                </c:pt>
                <c:pt idx="9">
                  <c:v>6</c:v>
                </c:pt>
                <c:pt idx="10">
                  <c:v>6</c:v>
                </c:pt>
                <c:pt idx="11">
                  <c:v>6</c:v>
                </c:pt>
                <c:pt idx="12">
                  <c:v>7</c:v>
                </c:pt>
                <c:pt idx="13">
                  <c:v>7</c:v>
                </c:pt>
                <c:pt idx="14">
                  <c:v>7</c:v>
                </c:pt>
                <c:pt idx="15">
                  <c:v>8</c:v>
                </c:pt>
                <c:pt idx="16">
                  <c:v>8</c:v>
                </c:pt>
                <c:pt idx="17">
                  <c:v>9</c:v>
                </c:pt>
                <c:pt idx="18">
                  <c:v>11</c:v>
                </c:pt>
                <c:pt idx="19">
                  <c:v>11</c:v>
                </c:pt>
                <c:pt idx="20">
                  <c:v>11</c:v>
                </c:pt>
                <c:pt idx="21">
                  <c:v>12</c:v>
                </c:pt>
                <c:pt idx="22">
                  <c:v>13</c:v>
                </c:pt>
                <c:pt idx="23">
                  <c:v>13</c:v>
                </c:pt>
                <c:pt idx="24">
                  <c:v>14</c:v>
                </c:pt>
                <c:pt idx="25">
                  <c:v>14</c:v>
                </c:pt>
                <c:pt idx="26">
                  <c:v>15</c:v>
                </c:pt>
                <c:pt idx="27">
                  <c:v>16</c:v>
                </c:pt>
                <c:pt idx="28">
                  <c:v>16</c:v>
                </c:pt>
                <c:pt idx="29">
                  <c:v>19</c:v>
                </c:pt>
                <c:pt idx="30">
                  <c:v>21</c:v>
                </c:pt>
                <c:pt idx="31">
                  <c:v>26</c:v>
                </c:pt>
                <c:pt idx="32">
                  <c:v>31</c:v>
                </c:pt>
                <c:pt idx="33">
                  <c:v>32</c:v>
                </c:pt>
                <c:pt idx="34">
                  <c:v>36</c:v>
                </c:pt>
                <c:pt idx="35">
                  <c:v>38</c:v>
                </c:pt>
                <c:pt idx="36">
                  <c:v>40</c:v>
                </c:pt>
                <c:pt idx="37">
                  <c:v>40</c:v>
                </c:pt>
                <c:pt idx="38">
                  <c:v>46</c:v>
                </c:pt>
                <c:pt idx="39">
                  <c:v>46</c:v>
                </c:pt>
                <c:pt idx="40">
                  <c:v>47</c:v>
                </c:pt>
                <c:pt idx="41">
                  <c:v>51</c:v>
                </c:pt>
                <c:pt idx="42">
                  <c:v>53</c:v>
                </c:pt>
                <c:pt idx="43">
                  <c:v>56</c:v>
                </c:pt>
                <c:pt idx="44">
                  <c:v>56</c:v>
                </c:pt>
                <c:pt idx="45">
                  <c:v>59</c:v>
                </c:pt>
                <c:pt idx="46">
                  <c:v>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54.232808496017938</c:v>
                </c:pt>
                <c:pt idx="43">
                  <c:v>57.540372387795799</c:v>
                </c:pt>
                <c:pt idx="44">
                  <c:v>60.913327841217296</c:v>
                </c:pt>
                <c:pt idx="45">
                  <c:v>64.332793560507369</c:v>
                </c:pt>
                <c:pt idx="46">
                  <c:v>67.865976336433505</c:v>
                </c:pt>
                <c:pt idx="47">
                  <c:v>71.476680320545981</c:v>
                </c:pt>
                <c:pt idx="48">
                  <c:v>75.180056511899636</c:v>
                </c:pt>
                <c:pt idx="49">
                  <c:v>78.944570296939062</c:v>
                </c:pt>
                <c:pt idx="50">
                  <c:v>82.758111732993498</c:v>
                </c:pt>
                <c:pt idx="51">
                  <c:v>86.629078765200518</c:v>
                </c:pt>
                <c:pt idx="52">
                  <c:v>90.553718011667229</c:v>
                </c:pt>
                <c:pt idx="53">
                  <c:v>94.5459825977089</c:v>
                </c:pt>
                <c:pt idx="54">
                  <c:v>98.586822078987382</c:v>
                </c:pt>
                <c:pt idx="55">
                  <c:v>102.67417749560499</c:v>
                </c:pt>
                <c:pt idx="56">
                  <c:v>106.80348290168679</c:v>
                </c:pt>
                <c:pt idx="57">
                  <c:v>110.9743926356317</c:v>
                </c:pt>
                <c:pt idx="58">
                  <c:v>115.17908664280347</c:v>
                </c:pt>
                <c:pt idx="59">
                  <c:v>119.41205825695039</c:v>
                </c:pt>
                <c:pt idx="60">
                  <c:v>123.67098723507154</c:v>
                </c:pt>
                <c:pt idx="61">
                  <c:v>127.96388077450757</c:v>
                </c:pt>
                <c:pt idx="62">
                  <c:v>132.28120572687044</c:v>
                </c:pt>
                <c:pt idx="63">
                  <c:v>136.61828197275472</c:v>
                </c:pt>
                <c:pt idx="64">
                  <c:v>140.9715859330762</c:v>
                </c:pt>
                <c:pt idx="65">
                  <c:v>145.33760054888432</c:v>
                </c:pt>
                <c:pt idx="66">
                  <c:v>149.71283524009556</c:v>
                </c:pt>
                <c:pt idx="67">
                  <c:v>154.09373046863942</c:v>
                </c:pt>
                <c:pt idx="68">
                  <c:v>158.47667885850848</c:v>
                </c:pt>
                <c:pt idx="69">
                  <c:v>162.85803780979637</c:v>
                </c:pt>
                <c:pt idx="70">
                  <c:v>167.23414499812878</c:v>
                </c:pt>
                <c:pt idx="71">
                  <c:v>171.60132805126941</c:v>
                </c:pt>
                <c:pt idx="72">
                  <c:v>175.955957712273</c:v>
                </c:pt>
                <c:pt idx="73">
                  <c:v>180.29446302274462</c:v>
                </c:pt>
                <c:pt idx="74">
                  <c:v>184.61333012758936</c:v>
                </c:pt>
                <c:pt idx="75">
                  <c:v>188.90910225807858</c:v>
                </c:pt>
                <c:pt idx="76">
                  <c:v>193.17839484436232</c:v>
                </c:pt>
                <c:pt idx="77">
                  <c:v>197.41790048593418</c:v>
                </c:pt>
                <c:pt idx="78">
                  <c:v>201.62440369587992</c:v>
                </c:pt>
                <c:pt idx="79">
                  <c:v>205.79479250607886</c:v>
                </c:pt>
                <c:pt idx="80">
                  <c:v>209.92607014877473</c:v>
                </c:pt>
                <c:pt idx="81">
                  <c:v>214.01536146157449</c:v>
                </c:pt>
                <c:pt idx="82">
                  <c:v>218.05991359689861</c:v>
                </c:pt>
                <c:pt idx="83">
                  <c:v>222.05710250845382</c:v>
                </c:pt>
                <c:pt idx="84">
                  <c:v>226.00443726010522</c:v>
                </c:pt>
                <c:pt idx="85">
                  <c:v>229.89956417731034</c:v>
                </c:pt>
                <c:pt idx="86">
                  <c:v>233.74026952801347</c:v>
                </c:pt>
                <c:pt idx="87">
                  <c:v>237.52448397497926</c:v>
                </c:pt>
                <c:pt idx="88">
                  <c:v>241.25028574851211</c:v>
                </c:pt>
                <c:pt idx="89">
                  <c:v>244.91590088572426</c:v>
                </c:pt>
                <c:pt idx="90">
                  <c:v>248.51970199920621</c:v>
                </c:pt>
                <c:pt idx="91">
                  <c:v>252.06020911625325</c:v>
                </c:pt>
                <c:pt idx="92">
                  <c:v>255.53608885392217</c:v>
                </c:pt>
                <c:pt idx="93">
                  <c:v>258.94615331272081</c:v>
                </c:pt>
                <c:pt idx="94">
                  <c:v>262.28935819714223</c:v>
                </c:pt>
                <c:pt idx="95">
                  <c:v>265.564805163993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54.276966124503154</c:v>
                </c:pt>
                <c:pt idx="43">
                  <c:v>57.649137248864633</c:v>
                </c:pt>
                <c:pt idx="44">
                  <c:v>61.110560628047935</c:v>
                </c:pt>
                <c:pt idx="45">
                  <c:v>64.64571381685073</c:v>
                </c:pt>
                <c:pt idx="46">
                  <c:v>68.324989426724258</c:v>
                </c:pt>
                <c:pt idx="47">
                  <c:v>72.115444929690909</c:v>
                </c:pt>
                <c:pt idx="48">
                  <c:v>76.035166906425275</c:v>
                </c:pt>
                <c:pt idx="49">
                  <c:v>80.05536812051173</c:v>
                </c:pt>
                <c:pt idx="50">
                  <c:v>84.166411239307649</c:v>
                </c:pt>
                <c:pt idx="51">
                  <c:v>88.378814467936365</c:v>
                </c:pt>
                <c:pt idx="52">
                  <c:v>92.690731841418568</c:v>
                </c:pt>
                <c:pt idx="53">
                  <c:v>97.117748262732022</c:v>
                </c:pt>
                <c:pt idx="54">
                  <c:v>101.64238918264371</c:v>
                </c:pt>
                <c:pt idx="55">
                  <c:v>106.26380089230986</c:v>
                </c:pt>
                <c:pt idx="56">
                  <c:v>110.97834523913683</c:v>
                </c:pt>
                <c:pt idx="57">
                  <c:v>115.78635842086426</c:v>
                </c:pt>
                <c:pt idx="58">
                  <c:v>120.68049687017167</c:v>
                </c:pt>
                <c:pt idx="59">
                  <c:v>125.65549993985348</c:v>
                </c:pt>
                <c:pt idx="60">
                  <c:v>130.70905537684484</c:v>
                </c:pt>
                <c:pt idx="61">
                  <c:v>135.84894579157799</c:v>
                </c:pt>
                <c:pt idx="62">
                  <c:v>141.06526052060826</c:v>
                </c:pt>
                <c:pt idx="63">
                  <c:v>146.35267297890067</c:v>
                </c:pt>
                <c:pt idx="64">
                  <c:v>151.70676387267434</c:v>
                </c:pt>
                <c:pt idx="65">
                  <c:v>157.12292043769327</c:v>
                </c:pt>
                <c:pt idx="66">
                  <c:v>162.59637001146157</c:v>
                </c:pt>
                <c:pt idx="67">
                  <c:v>168.12205512785823</c:v>
                </c:pt>
                <c:pt idx="68">
                  <c:v>173.69466863020673</c:v>
                </c:pt>
                <c:pt idx="69">
                  <c:v>179.30867556416817</c:v>
                </c:pt>
                <c:pt idx="70">
                  <c:v>184.95834070907489</c:v>
                </c:pt>
                <c:pt idx="71">
                  <c:v>190.63774796664657</c:v>
                </c:pt>
                <c:pt idx="72">
                  <c:v>196.34088336671718</c:v>
                </c:pt>
                <c:pt idx="73">
                  <c:v>202.06166484420677</c:v>
                </c:pt>
                <c:pt idx="74">
                  <c:v>207.7939505179063</c:v>
                </c:pt>
                <c:pt idx="75">
                  <c:v>213.53155024928901</c:v>
                </c:pt>
                <c:pt idx="76">
                  <c:v>219.26825866744622</c:v>
                </c:pt>
                <c:pt idx="77">
                  <c:v>224.99787453778777</c:v>
                </c:pt>
                <c:pt idx="78">
                  <c:v>230.71423409140087</c:v>
                </c:pt>
                <c:pt idx="79">
                  <c:v>236.4112402683304</c:v>
                </c:pt>
                <c:pt idx="80">
                  <c:v>242.0828925011202</c:v>
                </c:pt>
                <c:pt idx="81">
                  <c:v>247.72330905922286</c:v>
                </c:pt>
                <c:pt idx="82">
                  <c:v>253.32674152166848</c:v>
                </c:pt>
                <c:pt idx="83">
                  <c:v>258.88759705715944</c:v>
                </c:pt>
                <c:pt idx="84">
                  <c:v>264.40045720005514</c:v>
                </c:pt>
                <c:pt idx="85">
                  <c:v>269.86009605364706</c:v>
                </c:pt>
                <c:pt idx="86">
                  <c:v>275.26149582279965</c:v>
                </c:pt>
                <c:pt idx="87">
                  <c:v>280.59986424434805</c:v>
                </c:pt>
                <c:pt idx="88">
                  <c:v>285.87064942427401</c:v>
                </c:pt>
                <c:pt idx="89">
                  <c:v>291.06954986728817</c:v>
                </c:pt>
                <c:pt idx="90">
                  <c:v>296.19252164356203</c:v>
                </c:pt>
                <c:pt idx="91">
                  <c:v>301.2357875346072</c:v>
                </c:pt>
                <c:pt idx="92">
                  <c:v>306.19584295220307</c:v>
                </c:pt>
                <c:pt idx="93">
                  <c:v>311.06946054091497</c:v>
                </c:pt>
                <c:pt idx="94">
                  <c:v>315.85369277275157</c:v>
                </c:pt>
                <c:pt idx="95">
                  <c:v>320.545874477045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54.321374226148734</c:v>
                </c:pt>
                <c:pt idx="43">
                  <c:v>57.758828650101968</c:v>
                </c:pt>
                <c:pt idx="44">
                  <c:v>61.310136219610257</c:v>
                </c:pt>
                <c:pt idx="45">
                  <c:v>64.963533927515115</c:v>
                </c:pt>
                <c:pt idx="46">
                  <c:v>68.793082107551484</c:v>
                </c:pt>
                <c:pt idx="47">
                  <c:v>72.769650903799459</c:v>
                </c:pt>
                <c:pt idx="48">
                  <c:v>76.914893412031375</c:v>
                </c:pt>
                <c:pt idx="49">
                  <c:v>81.203468049579953</c:v>
                </c:pt>
                <c:pt idx="50">
                  <c:v>85.628966449024816</c:v>
                </c:pt>
                <c:pt idx="51">
                  <c:v>90.204833151670641</c:v>
                </c:pt>
                <c:pt idx="52">
                  <c:v>94.93197419403856</c:v>
                </c:pt>
                <c:pt idx="53">
                  <c:v>99.828473941968738</c:v>
                </c:pt>
                <c:pt idx="54">
                  <c:v>104.87931109364411</c:v>
                </c:pt>
                <c:pt idx="55">
                  <c:v>110.08570904417353</c:v>
                </c:pt>
                <c:pt idx="56">
                  <c:v>115.44581468535677</c:v>
                </c:pt>
                <c:pt idx="57">
                  <c:v>120.96147077742194</c:v>
                </c:pt>
                <c:pt idx="58">
                  <c:v>126.62659093713658</c:v>
                </c:pt>
                <c:pt idx="59">
                  <c:v>132.43688293182993</c:v>
                </c:pt>
                <c:pt idx="60">
                  <c:v>138.39068819808284</c:v>
                </c:pt>
                <c:pt idx="61">
                  <c:v>144.4961205237619</c:v>
                </c:pt>
                <c:pt idx="62">
                  <c:v>150.74334395830778</c:v>
                </c:pt>
                <c:pt idx="63">
                  <c:v>157.126723974583</c:v>
                </c:pt>
                <c:pt idx="64">
                  <c:v>163.64116043159757</c:v>
                </c:pt>
                <c:pt idx="65">
                  <c:v>170.28103578584637</c:v>
                </c:pt>
                <c:pt idx="66">
                  <c:v>177.0402562164866</c:v>
                </c:pt>
                <c:pt idx="67">
                  <c:v>183.91208350158772</c:v>
                </c:pt>
                <c:pt idx="68">
                  <c:v>190.88918242317428</c:v>
                </c:pt>
                <c:pt idx="69">
                  <c:v>197.96365077765515</c:v>
                </c:pt>
                <c:pt idx="70">
                  <c:v>205.12706036285189</c:v>
                </c:pt>
                <c:pt idx="71">
                  <c:v>212.37048877087958</c:v>
                </c:pt>
                <c:pt idx="72">
                  <c:v>219.68464138752049</c:v>
                </c:pt>
                <c:pt idx="73">
                  <c:v>227.05990310535449</c:v>
                </c:pt>
                <c:pt idx="74">
                  <c:v>234.48636399946847</c:v>
                </c:pt>
                <c:pt idx="75">
                  <c:v>241.95385247280282</c:v>
                </c:pt>
                <c:pt idx="76">
                  <c:v>249.4519990589736</c:v>
                </c:pt>
                <c:pt idx="77">
                  <c:v>256.97028344957658</c:v>
                </c:pt>
                <c:pt idx="78">
                  <c:v>264.49810167712269</c:v>
                </c:pt>
                <c:pt idx="79">
                  <c:v>272.02482881544972</c:v>
                </c:pt>
                <c:pt idx="80">
                  <c:v>279.53988345460414</c:v>
                </c:pt>
                <c:pt idx="81">
                  <c:v>287.03278241751701</c:v>
                </c:pt>
                <c:pt idx="82">
                  <c:v>294.49318507589885</c:v>
                </c:pt>
                <c:pt idx="83">
                  <c:v>301.91094786217047</c:v>
                </c:pt>
                <c:pt idx="84">
                  <c:v>309.2761733058648</c:v>
                </c:pt>
                <c:pt idx="85">
                  <c:v>316.5792574636057</c:v>
                </c:pt>
                <c:pt idx="86">
                  <c:v>323.81093248180383</c:v>
                </c:pt>
                <c:pt idx="87">
                  <c:v>330.96231030579122</c:v>
                </c:pt>
                <c:pt idx="88">
                  <c:v>338.02492115380647</c:v>
                </c:pt>
                <c:pt idx="89">
                  <c:v>344.99074373973241</c:v>
                </c:pt>
                <c:pt idx="90">
                  <c:v>351.85222968009788</c:v>
                </c:pt>
                <c:pt idx="91">
                  <c:v>358.60232846560785</c:v>
                </c:pt>
                <c:pt idx="92">
                  <c:v>365.23450594861936</c:v>
                </c:pt>
                <c:pt idx="93">
                  <c:v>371.74275890714517</c:v>
                </c:pt>
                <c:pt idx="94">
                  <c:v>378.12162476105891</c:v>
                </c:pt>
                <c:pt idx="95">
                  <c:v>384.366189134278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3</c:v>
                </c:pt>
                <c:pt idx="12">
                  <c:v>3</c:v>
                </c:pt>
                <c:pt idx="13">
                  <c:v>4</c:v>
                </c:pt>
                <c:pt idx="14">
                  <c:v>5</c:v>
                </c:pt>
                <c:pt idx="15">
                  <c:v>5</c:v>
                </c:pt>
                <c:pt idx="16">
                  <c:v>5</c:v>
                </c:pt>
                <c:pt idx="17">
                  <c:v>6</c:v>
                </c:pt>
                <c:pt idx="18">
                  <c:v>8</c:v>
                </c:pt>
                <c:pt idx="19">
                  <c:v>9</c:v>
                </c:pt>
                <c:pt idx="20">
                  <c:v>9</c:v>
                </c:pt>
                <c:pt idx="21">
                  <c:v>10</c:v>
                </c:pt>
                <c:pt idx="22">
                  <c:v>10</c:v>
                </c:pt>
                <c:pt idx="23">
                  <c:v>10</c:v>
                </c:pt>
                <c:pt idx="24">
                  <c:v>10</c:v>
                </c:pt>
                <c:pt idx="25">
                  <c:v>12</c:v>
                </c:pt>
                <c:pt idx="26">
                  <c:v>14</c:v>
                </c:pt>
                <c:pt idx="27">
                  <c:v>14</c:v>
                </c:pt>
                <c:pt idx="28">
                  <c:v>15</c:v>
                </c:pt>
                <c:pt idx="29">
                  <c:v>16</c:v>
                </c:pt>
                <c:pt idx="30">
                  <c:v>16</c:v>
                </c:pt>
                <c:pt idx="31">
                  <c:v>16</c:v>
                </c:pt>
                <c:pt idx="32">
                  <c:v>16</c:v>
                </c:pt>
                <c:pt idx="33">
                  <c:v>16</c:v>
                </c:pt>
                <c:pt idx="34">
                  <c:v>18</c:v>
                </c:pt>
                <c:pt idx="35">
                  <c:v>21</c:v>
                </c:pt>
                <c:pt idx="36">
                  <c:v>23</c:v>
                </c:pt>
                <c:pt idx="37">
                  <c:v>28</c:v>
                </c:pt>
                <c:pt idx="38">
                  <c:v>30</c:v>
                </c:pt>
                <c:pt idx="39">
                  <c:v>32</c:v>
                </c:pt>
                <c:pt idx="40">
                  <c:v>35</c:v>
                </c:pt>
                <c:pt idx="41">
                  <c:v>35</c:v>
                </c:pt>
                <c:pt idx="42">
                  <c:v>38</c:v>
                </c:pt>
                <c:pt idx="43">
                  <c:v>43</c:v>
                </c:pt>
                <c:pt idx="44">
                  <c:v>45</c:v>
                </c:pt>
                <c:pt idx="45">
                  <c:v>45</c:v>
                </c:pt>
                <c:pt idx="46">
                  <c:v>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7.724241291326649</c:v>
                </c:pt>
                <c:pt idx="43">
                  <c:v>40.515272156490511</c:v>
                </c:pt>
                <c:pt idx="44">
                  <c:v>43.364168428598546</c:v>
                </c:pt>
                <c:pt idx="45">
                  <c:v>46.254595487083151</c:v>
                </c:pt>
                <c:pt idx="46">
                  <c:v>49.245123711564794</c:v>
                </c:pt>
                <c:pt idx="47">
                  <c:v>52.303511438517283</c:v>
                </c:pt>
                <c:pt idx="48">
                  <c:v>55.43895448845992</c:v>
                </c:pt>
                <c:pt idx="49">
                  <c:v>58.626991097857584</c:v>
                </c:pt>
                <c:pt idx="50">
                  <c:v>61.859144337362146</c:v>
                </c:pt>
                <c:pt idx="51">
                  <c:v>65.139429356994356</c:v>
                </c:pt>
                <c:pt idx="52">
                  <c:v>68.462447888017763</c:v>
                </c:pt>
                <c:pt idx="53">
                  <c:v>71.843801757592303</c:v>
                </c:pt>
                <c:pt idx="54">
                  <c:v>75.26820302095112</c:v>
                </c:pt>
                <c:pt idx="55">
                  <c:v>78.73179250934524</c:v>
                </c:pt>
                <c:pt idx="56">
                  <c:v>82.229887600859101</c:v>
                </c:pt>
                <c:pt idx="57">
                  <c:v>85.761809544771921</c:v>
                </c:pt>
                <c:pt idx="58">
                  <c:v>89.321929085151083</c:v>
                </c:pt>
                <c:pt idx="59">
                  <c:v>92.90468853484407</c:v>
                </c:pt>
                <c:pt idx="60">
                  <c:v>96.508204077208262</c:v>
                </c:pt>
                <c:pt idx="61">
                  <c:v>100.14057806566653</c:v>
                </c:pt>
                <c:pt idx="62">
                  <c:v>103.79299283319062</c:v>
                </c:pt>
                <c:pt idx="63">
                  <c:v>107.46132918530704</c:v>
                </c:pt>
                <c:pt idx="64">
                  <c:v>111.14259558459223</c:v>
                </c:pt>
                <c:pt idx="65">
                  <c:v>114.83380767963524</c:v>
                </c:pt>
                <c:pt idx="66">
                  <c:v>118.53200608802702</c:v>
                </c:pt>
                <c:pt idx="67">
                  <c:v>122.23417534409184</c:v>
                </c:pt>
                <c:pt idx="68">
                  <c:v>125.93726322138103</c:v>
                </c:pt>
                <c:pt idx="69">
                  <c:v>129.63819060164269</c:v>
                </c:pt>
                <c:pt idx="70">
                  <c:v>133.33386393504691</c:v>
                </c:pt>
                <c:pt idx="71">
                  <c:v>137.02118243524592</c:v>
                </c:pt>
                <c:pt idx="72">
                  <c:v>140.69708416976874</c:v>
                </c:pt>
                <c:pt idx="73">
                  <c:v>144.35855906689801</c:v>
                </c:pt>
                <c:pt idx="74">
                  <c:v>148.00264800725125</c:v>
                </c:pt>
                <c:pt idx="75">
                  <c:v>151.62644226418871</c:v>
                </c:pt>
                <c:pt idx="76">
                  <c:v>155.22709675627627</c:v>
                </c:pt>
                <c:pt idx="77">
                  <c:v>158.80183414504694</c:v>
                </c:pt>
                <c:pt idx="78">
                  <c:v>162.34795682145582</c:v>
                </c:pt>
                <c:pt idx="79">
                  <c:v>165.86285636115252</c:v>
                </c:pt>
                <c:pt idx="80">
                  <c:v>169.34402374078024</c:v>
                </c:pt>
                <c:pt idx="81">
                  <c:v>172.7890548806032</c:v>
                </c:pt>
                <c:pt idx="82">
                  <c:v>176.19565041230547</c:v>
                </c:pt>
                <c:pt idx="83">
                  <c:v>179.56162101256865</c:v>
                </c:pt>
                <c:pt idx="84">
                  <c:v>182.88489100859391</c:v>
                </c:pt>
                <c:pt idx="85">
                  <c:v>186.16350177159629</c:v>
                </c:pt>
                <c:pt idx="86">
                  <c:v>189.39561372739135</c:v>
                </c:pt>
                <c:pt idx="87">
                  <c:v>192.57951011230335</c:v>
                </c:pt>
                <c:pt idx="88">
                  <c:v>195.71359971785569</c:v>
                </c:pt>
                <c:pt idx="89">
                  <c:v>198.79641679134366</c:v>
                </c:pt>
                <c:pt idx="90">
                  <c:v>201.82661960032638</c:v>
                </c:pt>
                <c:pt idx="91">
                  <c:v>204.80299108163004</c:v>
                </c:pt>
                <c:pt idx="92">
                  <c:v>207.72443800584131</c:v>
                </c:pt>
                <c:pt idx="93">
                  <c:v>210.58998993151832</c:v>
                </c:pt>
                <c:pt idx="94">
                  <c:v>213.39879746889034</c:v>
                </c:pt>
                <c:pt idx="95">
                  <c:v>216.150134681044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7.762607517350546</c:v>
                </c:pt>
                <c:pt idx="43">
                  <c:v>40.609735351165469</c:v>
                </c:pt>
                <c:pt idx="44">
                  <c:v>43.535376844436755</c:v>
                </c:pt>
                <c:pt idx="45">
                  <c:v>46.5260635993438</c:v>
                </c:pt>
                <c:pt idx="46">
                  <c:v>49.643080963618807</c:v>
                </c:pt>
                <c:pt idx="47">
                  <c:v>52.856956746251583</c:v>
                </c:pt>
                <c:pt idx="48">
                  <c:v>56.179357252622673</c:v>
                </c:pt>
                <c:pt idx="49">
                  <c:v>59.588118350396257</c:v>
                </c:pt>
                <c:pt idx="50">
                  <c:v>63.076829421405641</c:v>
                </c:pt>
                <c:pt idx="51">
                  <c:v>66.65127235238495</c:v>
                </c:pt>
                <c:pt idx="52">
                  <c:v>70.307623731514568</c:v>
                </c:pt>
                <c:pt idx="53">
                  <c:v>74.062808812100968</c:v>
                </c:pt>
                <c:pt idx="54">
                  <c:v>77.902834293385396</c:v>
                </c:pt>
                <c:pt idx="55">
                  <c:v>81.824814602353484</c:v>
                </c:pt>
                <c:pt idx="56">
                  <c:v>85.824796112871724</c:v>
                </c:pt>
                <c:pt idx="57">
                  <c:v>89.902615727651352</c:v>
                </c:pt>
                <c:pt idx="58">
                  <c:v>94.052984526829945</c:v>
                </c:pt>
                <c:pt idx="59">
                  <c:v>98.270493099766313</c:v>
                </c:pt>
                <c:pt idx="60">
                  <c:v>102.55320607022716</c:v>
                </c:pt>
                <c:pt idx="61">
                  <c:v>106.90897907665862</c:v>
                </c:pt>
                <c:pt idx="62">
                  <c:v>111.32862959020392</c:v>
                </c:pt>
                <c:pt idx="63">
                  <c:v>115.80744263463866</c:v>
                </c:pt>
                <c:pt idx="64">
                  <c:v>120.34161859208965</c:v>
                </c:pt>
                <c:pt idx="65">
                  <c:v>124.92719695869093</c:v>
                </c:pt>
                <c:pt idx="66">
                  <c:v>129.56008656837358</c:v>
                </c:pt>
                <c:pt idx="67">
                  <c:v>134.23595959907192</c:v>
                </c:pt>
                <c:pt idx="68">
                  <c:v>138.9502836054707</c:v>
                </c:pt>
                <c:pt idx="69">
                  <c:v>143.69833915918088</c:v>
                </c:pt>
                <c:pt idx="70">
                  <c:v>148.47524245247428</c:v>
                </c:pt>
                <c:pt idx="71">
                  <c:v>153.2759604188148</c:v>
                </c:pt>
                <c:pt idx="72">
                  <c:v>158.09538282407408</c:v>
                </c:pt>
                <c:pt idx="73">
                  <c:v>162.92834782233535</c:v>
                </c:pt>
                <c:pt idx="74">
                  <c:v>167.76964922378346</c:v>
                </c:pt>
                <c:pt idx="75">
                  <c:v>172.61404568851498</c:v>
                </c:pt>
                <c:pt idx="76">
                  <c:v>177.45628944006111</c:v>
                </c:pt>
                <c:pt idx="77">
                  <c:v>182.29114258826485</c:v>
                </c:pt>
                <c:pt idx="78">
                  <c:v>187.11340472191449</c:v>
                </c:pt>
                <c:pt idx="79">
                  <c:v>191.91793719675934</c:v>
                </c:pt>
                <c:pt idx="80">
                  <c:v>196.69968883513567</c:v>
                </c:pt>
                <c:pt idx="81">
                  <c:v>201.45371497614428</c:v>
                </c:pt>
                <c:pt idx="82">
                  <c:v>206.17518854612683</c:v>
                </c:pt>
                <c:pt idx="83">
                  <c:v>210.85941865765028</c:v>
                </c:pt>
                <c:pt idx="84">
                  <c:v>215.5018663469103</c:v>
                </c:pt>
                <c:pt idx="85">
                  <c:v>220.09815969533332</c:v>
                </c:pt>
                <c:pt idx="86">
                  <c:v>224.64410646790432</c:v>
                </c:pt>
                <c:pt idx="87">
                  <c:v>229.13570870002698</c:v>
                </c:pt>
                <c:pt idx="88">
                  <c:v>233.56917515870333</c:v>
                </c:pt>
                <c:pt idx="89">
                  <c:v>237.94092922389095</c:v>
                </c:pt>
                <c:pt idx="90">
                  <c:v>242.24761420945759</c:v>
                </c:pt>
                <c:pt idx="91">
                  <c:v>246.48610080779963</c:v>
                </c:pt>
                <c:pt idx="92">
                  <c:v>250.65349168993569</c:v>
                </c:pt>
                <c:pt idx="93">
                  <c:v>254.74712502635072</c:v>
                </c:pt>
                <c:pt idx="94">
                  <c:v>258.76457625699595</c:v>
                </c:pt>
                <c:pt idx="95">
                  <c:v>262.703659986591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7.801191248049001</c:v>
                </c:pt>
                <c:pt idx="43">
                  <c:v>40.705003239908208</c:v>
                </c:pt>
                <c:pt idx="44">
                  <c:v>43.708619833119755</c:v>
                </c:pt>
                <c:pt idx="45">
                  <c:v>46.801785981840482</c:v>
                </c:pt>
                <c:pt idx="46">
                  <c:v>50.048918687843347</c:v>
                </c:pt>
                <c:pt idx="47">
                  <c:v>53.423797762909572</c:v>
                </c:pt>
                <c:pt idx="48">
                  <c:v>56.941103050703575</c:v>
                </c:pt>
                <c:pt idx="49">
                  <c:v>60.581567773949303</c:v>
                </c:pt>
                <c:pt idx="50">
                  <c:v>64.341495550584398</c:v>
                </c:pt>
                <c:pt idx="51">
                  <c:v>68.229123594832714</c:v>
                </c:pt>
                <c:pt idx="52">
                  <c:v>72.242922839677817</c:v>
                </c:pt>
                <c:pt idx="53">
                  <c:v>76.401879045247966</c:v>
                </c:pt>
                <c:pt idx="54">
                  <c:v>80.694036586930878</c:v>
                </c:pt>
                <c:pt idx="55">
                  <c:v>85.118219178487436</c:v>
                </c:pt>
                <c:pt idx="56">
                  <c:v>89.671923033715615</c:v>
                </c:pt>
                <c:pt idx="57">
                  <c:v>94.356191234770463</c:v>
                </c:pt>
                <c:pt idx="58">
                  <c:v>99.166725802937904</c:v>
                </c:pt>
                <c:pt idx="59">
                  <c:v>104.09886411008567</c:v>
                </c:pt>
                <c:pt idx="60">
                  <c:v>109.15114993243282</c:v>
                </c:pt>
                <c:pt idx="61">
                  <c:v>114.33164410369112</c:v>
                </c:pt>
                <c:pt idx="62">
                  <c:v>119.63116097671239</c:v>
                </c:pt>
                <c:pt idx="63">
                  <c:v>125.04465301404119</c:v>
                </c:pt>
                <c:pt idx="64">
                  <c:v>130.56766904705864</c:v>
                </c:pt>
                <c:pt idx="65">
                  <c:v>136.19532263369771</c:v>
                </c:pt>
                <c:pt idx="66">
                  <c:v>141.92232996737849</c:v>
                </c:pt>
                <c:pt idx="67">
                  <c:v>147.74286757763562</c:v>
                </c:pt>
                <c:pt idx="68">
                  <c:v>153.65061617417837</c:v>
                </c:pt>
                <c:pt idx="69">
                  <c:v>159.63878543162031</c:v>
                </c:pt>
                <c:pt idx="70">
                  <c:v>165.70014833062083</c:v>
                </c:pt>
                <c:pt idx="71">
                  <c:v>171.82706681813474</c:v>
                </c:pt>
                <c:pt idx="72">
                  <c:v>178.01159820650577</c:v>
                </c:pt>
                <c:pt idx="73">
                  <c:v>184.24553992628557</c:v>
                </c:pt>
                <c:pt idx="74">
                  <c:v>190.52045208742251</c:v>
                </c:pt>
                <c:pt idx="75">
                  <c:v>196.8276852382449</c:v>
                </c:pt>
                <c:pt idx="76">
                  <c:v>203.15843580936718</c:v>
                </c:pt>
                <c:pt idx="77">
                  <c:v>209.50378616525518</c:v>
                </c:pt>
                <c:pt idx="78">
                  <c:v>215.85476092794221</c:v>
                </c:pt>
                <c:pt idx="79">
                  <c:v>222.20237963893351</c:v>
                </c:pt>
                <c:pt idx="80">
                  <c:v>228.53771215157494</c:v>
                </c:pt>
                <c:pt idx="81">
                  <c:v>234.85192517614496</c:v>
                </c:pt>
                <c:pt idx="82">
                  <c:v>241.13631820827774</c:v>
                </c:pt>
                <c:pt idx="83">
                  <c:v>247.38236925447302</c:v>
                </c:pt>
                <c:pt idx="84">
                  <c:v>253.58177596096988</c:v>
                </c:pt>
                <c:pt idx="85">
                  <c:v>259.72649513864758</c:v>
                </c:pt>
                <c:pt idx="86">
                  <c:v>265.80877779759493</c:v>
                </c:pt>
                <c:pt idx="87">
                  <c:v>271.82120557168997</c:v>
                </c:pt>
                <c:pt idx="88">
                  <c:v>277.75672274498822</c:v>
                </c:pt>
                <c:pt idx="89">
                  <c:v>283.60866057181914</c:v>
                </c:pt>
                <c:pt idx="90">
                  <c:v>289.37075645807374</c:v>
                </c:pt>
                <c:pt idx="91">
                  <c:v>295.03717419630181</c:v>
                </c:pt>
                <c:pt idx="92">
                  <c:v>300.60251854429015</c:v>
                </c:pt>
                <c:pt idx="93">
                  <c:v>306.06184652394467</c:v>
                </c:pt>
                <c:pt idx="94">
                  <c:v>311.41067454959352</c:v>
                </c:pt>
                <c:pt idx="95">
                  <c:v>316.644983988205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5</c:v>
                </c:pt>
                <c:pt idx="10">
                  <c:v>5</c:v>
                </c:pt>
                <c:pt idx="11">
                  <c:v>8</c:v>
                </c:pt>
                <c:pt idx="12">
                  <c:v>9</c:v>
                </c:pt>
                <c:pt idx="13">
                  <c:v>9</c:v>
                </c:pt>
                <c:pt idx="14">
                  <c:v>9</c:v>
                </c:pt>
                <c:pt idx="15">
                  <c:v>9</c:v>
                </c:pt>
                <c:pt idx="16">
                  <c:v>9</c:v>
                </c:pt>
                <c:pt idx="17">
                  <c:v>9</c:v>
                </c:pt>
                <c:pt idx="18">
                  <c:v>9</c:v>
                </c:pt>
                <c:pt idx="19">
                  <c:v>9</c:v>
                </c:pt>
                <c:pt idx="20">
                  <c:v>10</c:v>
                </c:pt>
                <c:pt idx="21">
                  <c:v>10</c:v>
                </c:pt>
                <c:pt idx="22">
                  <c:v>10</c:v>
                </c:pt>
                <c:pt idx="23">
                  <c:v>11</c:v>
                </c:pt>
                <c:pt idx="24">
                  <c:v>11</c:v>
                </c:pt>
                <c:pt idx="25">
                  <c:v>12</c:v>
                </c:pt>
                <c:pt idx="26">
                  <c:v>14</c:v>
                </c:pt>
                <c:pt idx="27">
                  <c:v>14</c:v>
                </c:pt>
                <c:pt idx="28">
                  <c:v>15</c:v>
                </c:pt>
                <c:pt idx="29">
                  <c:v>15</c:v>
                </c:pt>
                <c:pt idx="30">
                  <c:v>15</c:v>
                </c:pt>
                <c:pt idx="31">
                  <c:v>17</c:v>
                </c:pt>
                <c:pt idx="32">
                  <c:v>17</c:v>
                </c:pt>
                <c:pt idx="33">
                  <c:v>18</c:v>
                </c:pt>
                <c:pt idx="34">
                  <c:v>18</c:v>
                </c:pt>
                <c:pt idx="35">
                  <c:v>20</c:v>
                </c:pt>
                <c:pt idx="36">
                  <c:v>21</c:v>
                </c:pt>
                <c:pt idx="37">
                  <c:v>23</c:v>
                </c:pt>
                <c:pt idx="38">
                  <c:v>24</c:v>
                </c:pt>
                <c:pt idx="39">
                  <c:v>25</c:v>
                </c:pt>
                <c:pt idx="40">
                  <c:v>28</c:v>
                </c:pt>
                <c:pt idx="41">
                  <c:v>31</c:v>
                </c:pt>
                <c:pt idx="42">
                  <c:v>33</c:v>
                </c:pt>
                <c:pt idx="43">
                  <c:v>33</c:v>
                </c:pt>
                <c:pt idx="44">
                  <c:v>38</c:v>
                </c:pt>
                <c:pt idx="45">
                  <c:v>40</c:v>
                </c:pt>
                <c:pt idx="46">
                  <c:v>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1.640375041554023</c:v>
                </c:pt>
                <c:pt idx="43">
                  <c:v>33.318985623149395</c:v>
                </c:pt>
                <c:pt idx="44">
                  <c:v>35.030997724423493</c:v>
                </c:pt>
                <c:pt idx="45">
                  <c:v>36.766796805589898</c:v>
                </c:pt>
                <c:pt idx="46">
                  <c:v>38.560639484955928</c:v>
                </c:pt>
                <c:pt idx="47">
                  <c:v>40.394020256121614</c:v>
                </c:pt>
                <c:pt idx="48">
                  <c:v>42.274341224312636</c:v>
                </c:pt>
                <c:pt idx="49">
                  <c:v>44.185770218481792</c:v>
                </c:pt>
                <c:pt idx="50">
                  <c:v>46.122300709506113</c:v>
                </c:pt>
                <c:pt idx="51">
                  <c:v>48.087949005247779</c:v>
                </c:pt>
                <c:pt idx="52">
                  <c:v>50.080631756175002</c:v>
                </c:pt>
                <c:pt idx="53">
                  <c:v>52.107736483599311</c:v>
                </c:pt>
                <c:pt idx="54">
                  <c:v>54.159657956430543</c:v>
                </c:pt>
                <c:pt idx="55">
                  <c:v>56.235181498813823</c:v>
                </c:pt>
                <c:pt idx="56">
                  <c:v>58.331923484810922</c:v>
                </c:pt>
                <c:pt idx="57">
                  <c:v>60.449677523259709</c:v>
                </c:pt>
                <c:pt idx="58">
                  <c:v>62.584552449645614</c:v>
                </c:pt>
                <c:pt idx="59">
                  <c:v>64.733680715845693</c:v>
                </c:pt>
                <c:pt idx="60">
                  <c:v>66.895890709608125</c:v>
                </c:pt>
                <c:pt idx="61">
                  <c:v>69.075353786036658</c:v>
                </c:pt>
                <c:pt idx="62">
                  <c:v>71.267169946478248</c:v>
                </c:pt>
                <c:pt idx="63">
                  <c:v>73.46895040283664</c:v>
                </c:pt>
                <c:pt idx="64">
                  <c:v>75.678905457320894</c:v>
                </c:pt>
                <c:pt idx="65">
                  <c:v>77.895248855879913</c:v>
                </c:pt>
                <c:pt idx="66">
                  <c:v>80.116207992684195</c:v>
                </c:pt>
                <c:pt idx="67">
                  <c:v>82.339975433728682</c:v>
                </c:pt>
                <c:pt idx="68">
                  <c:v>84.564719755454206</c:v>
                </c:pt>
                <c:pt idx="69">
                  <c:v>86.788591884441814</c:v>
                </c:pt>
                <c:pt idx="70">
                  <c:v>89.0097329139804</c:v>
                </c:pt>
                <c:pt idx="71">
                  <c:v>91.226278937378211</c:v>
                </c:pt>
                <c:pt idx="72">
                  <c:v>93.436388126981626</c:v>
                </c:pt>
                <c:pt idx="73">
                  <c:v>95.638248455359474</c:v>
                </c:pt>
                <c:pt idx="74">
                  <c:v>97.830077096719421</c:v>
                </c:pt>
                <c:pt idx="75">
                  <c:v>100.01012037468968</c:v>
                </c:pt>
                <c:pt idx="76">
                  <c:v>102.17666147202152</c:v>
                </c:pt>
                <c:pt idx="77">
                  <c:v>104.32802294541479</c:v>
                </c:pt>
                <c:pt idx="78">
                  <c:v>106.46257417190363</c:v>
                </c:pt>
                <c:pt idx="79">
                  <c:v>108.5787372115669</c:v>
                </c:pt>
                <c:pt idx="80">
                  <c:v>110.6749927647233</c:v>
                </c:pt>
                <c:pt idx="81">
                  <c:v>112.74988343354103</c:v>
                </c:pt>
                <c:pt idx="82">
                  <c:v>114.80201401561983</c:v>
                </c:pt>
                <c:pt idx="83">
                  <c:v>116.83005478472518</c:v>
                </c:pt>
                <c:pt idx="84">
                  <c:v>118.83274367513381</c:v>
                </c:pt>
                <c:pt idx="85">
                  <c:v>120.80888837974426</c:v>
                </c:pt>
                <c:pt idx="86">
                  <c:v>122.75736769051724</c:v>
                </c:pt>
                <c:pt idx="87">
                  <c:v>124.67713375797516</c:v>
                </c:pt>
                <c:pt idx="88">
                  <c:v>126.5672137067738</c:v>
                </c:pt>
                <c:pt idx="89">
                  <c:v>128.4267097330262</c:v>
                </c:pt>
                <c:pt idx="90">
                  <c:v>130.25479844767688</c:v>
                </c:pt>
                <c:pt idx="91">
                  <c:v>132.05073129768186</c:v>
                </c:pt>
                <c:pt idx="92">
                  <c:v>133.81383413619307</c:v>
                </c:pt>
                <c:pt idx="93">
                  <c:v>135.54350665211862</c:v>
                </c:pt>
                <c:pt idx="94">
                  <c:v>137.23922140425381</c:v>
                </c:pt>
                <c:pt idx="95">
                  <c:v>138.900525046640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1.662873696169431</c:v>
                </c:pt>
                <c:pt idx="43">
                  <c:v>33.374399217593677</c:v>
                </c:pt>
                <c:pt idx="44">
                  <c:v>35.131476823896037</c:v>
                </c:pt>
                <c:pt idx="45">
                  <c:v>36.926199167361823</c:v>
                </c:pt>
                <c:pt idx="46">
                  <c:v>38.794441824848178</c:v>
                </c:pt>
                <c:pt idx="47">
                  <c:v>40.71935230876413</c:v>
                </c:pt>
                <c:pt idx="48">
                  <c:v>42.709822019036935</c:v>
                </c:pt>
                <c:pt idx="49">
                  <c:v>44.75141144105686</c:v>
                </c:pt>
                <c:pt idx="50">
                  <c:v>46.839367299007819</c:v>
                </c:pt>
                <c:pt idx="51">
                  <c:v>48.978780154082799</c:v>
                </c:pt>
                <c:pt idx="52">
                  <c:v>51.168531908745329</c:v>
                </c:pt>
                <c:pt idx="53">
                  <c:v>53.416833940570157</c:v>
                </c:pt>
                <c:pt idx="54">
                  <c:v>55.714877983834057</c:v>
                </c:pt>
                <c:pt idx="55">
                  <c:v>58.062057560804611</c:v>
                </c:pt>
                <c:pt idx="56">
                  <c:v>60.456455594249931</c:v>
                </c:pt>
                <c:pt idx="57">
                  <c:v>62.898206963392376</c:v>
                </c:pt>
                <c:pt idx="58">
                  <c:v>65.38365738502192</c:v>
                </c:pt>
                <c:pt idx="59">
                  <c:v>67.910059421516834</c:v>
                </c:pt>
                <c:pt idx="60">
                  <c:v>70.476240851429907</c:v>
                </c:pt>
                <c:pt idx="61">
                  <c:v>73.086254474426994</c:v>
                </c:pt>
                <c:pt idx="62">
                  <c:v>75.735004996283948</c:v>
                </c:pt>
                <c:pt idx="63">
                  <c:v>78.419771521487377</c:v>
                </c:pt>
                <c:pt idx="64">
                  <c:v>81.13830559134388</c:v>
                </c:pt>
                <c:pt idx="65">
                  <c:v>83.888260749280306</c:v>
                </c:pt>
                <c:pt idx="66">
                  <c:v>86.66720973051298</c:v>
                </c:pt>
                <c:pt idx="67">
                  <c:v>89.47258102418337</c:v>
                </c:pt>
                <c:pt idx="68">
                  <c:v>92.301676885728625</c:v>
                </c:pt>
                <c:pt idx="69">
                  <c:v>95.151684380968476</c:v>
                </c:pt>
                <c:pt idx="70">
                  <c:v>98.019689308190905</c:v>
                </c:pt>
                <c:pt idx="71">
                  <c:v>100.90268593882969</c:v>
                </c:pt>
                <c:pt idx="72">
                  <c:v>103.79761930728149</c:v>
                </c:pt>
                <c:pt idx="73">
                  <c:v>106.70140035723782</c:v>
                </c:pt>
                <c:pt idx="74">
                  <c:v>109.61091016578146</c:v>
                </c:pt>
                <c:pt idx="75">
                  <c:v>112.52300576476837</c:v>
                </c:pt>
                <c:pt idx="76">
                  <c:v>115.43453696888123</c:v>
                </c:pt>
                <c:pt idx="77">
                  <c:v>118.34235620368781</c:v>
                </c:pt>
                <c:pt idx="78">
                  <c:v>121.24333537796954</c:v>
                </c:pt>
                <c:pt idx="79">
                  <c:v>124.13438069380612</c:v>
                </c:pt>
                <c:pt idx="80">
                  <c:v>127.01244780730373</c:v>
                </c:pt>
                <c:pt idx="81">
                  <c:v>129.87455318414959</c:v>
                </c:pt>
                <c:pt idx="82">
                  <c:v>132.71778135322427</c:v>
                </c:pt>
                <c:pt idx="83">
                  <c:v>135.53929619776216</c:v>
                </c:pt>
                <c:pt idx="84">
                  <c:v>138.33635047577707</c:v>
                </c:pt>
                <c:pt idx="85">
                  <c:v>141.10629503923136</c:v>
                </c:pt>
                <c:pt idx="86">
                  <c:v>143.84658667946417</c:v>
                </c:pt>
                <c:pt idx="87">
                  <c:v>146.55479696351529</c:v>
                </c:pt>
                <c:pt idx="88">
                  <c:v>149.22861975937678</c:v>
                </c:pt>
                <c:pt idx="89">
                  <c:v>151.86587627951803</c:v>
                </c:pt>
                <c:pt idx="90">
                  <c:v>154.4645186599239</c:v>
                </c:pt>
                <c:pt idx="91">
                  <c:v>157.02263457985111</c:v>
                </c:pt>
                <c:pt idx="92">
                  <c:v>159.5384502341642</c:v>
                </c:pt>
                <c:pt idx="93">
                  <c:v>162.01033264011062</c:v>
                </c:pt>
                <c:pt idx="94">
                  <c:v>164.43679092057033</c:v>
                </c:pt>
                <c:pt idx="95">
                  <c:v>166.816477568827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1.685499959349364</c:v>
                </c:pt>
                <c:pt idx="43">
                  <c:v>33.430284865237525</c:v>
                </c:pt>
                <c:pt idx="44">
                  <c:v>35.233149523278094</c:v>
                </c:pt>
                <c:pt idx="45">
                  <c:v>37.088097806653892</c:v>
                </c:pt>
                <c:pt idx="46">
                  <c:v>39.03286962235012</c:v>
                </c:pt>
                <c:pt idx="47">
                  <c:v>41.052550218704525</c:v>
                </c:pt>
                <c:pt idx="48">
                  <c:v>43.157841345350086</c:v>
                </c:pt>
                <c:pt idx="49">
                  <c:v>45.336051363731123</c:v>
                </c:pt>
                <c:pt idx="50">
                  <c:v>47.584064881617671</c:v>
                </c:pt>
                <c:pt idx="51">
                  <c:v>49.908456474321696</c:v>
                </c:pt>
                <c:pt idx="52">
                  <c:v>52.309502472551188</c:v>
                </c:pt>
                <c:pt idx="53">
                  <c:v>54.796678858086082</c:v>
                </c:pt>
                <c:pt idx="54">
                  <c:v>57.362419808157874</c:v>
                </c:pt>
                <c:pt idx="55">
                  <c:v>60.007169513715347</c:v>
                </c:pt>
                <c:pt idx="56">
                  <c:v>62.729912304254221</c:v>
                </c:pt>
                <c:pt idx="57">
                  <c:v>65.531542440847289</c:v>
                </c:pt>
                <c:pt idx="58">
                  <c:v>68.409038076575115</c:v>
                </c:pt>
                <c:pt idx="59">
                  <c:v>71.360137618812018</c:v>
                </c:pt>
                <c:pt idx="60">
                  <c:v>74.383994801751072</c:v>
                </c:pt>
                <c:pt idx="61">
                  <c:v>77.484824558750518</c:v>
                </c:pt>
                <c:pt idx="62">
                  <c:v>80.657564219792405</c:v>
                </c:pt>
                <c:pt idx="63">
                  <c:v>83.89933078993981</c:v>
                </c:pt>
                <c:pt idx="64">
                  <c:v>87.207524113667603</c:v>
                </c:pt>
                <c:pt idx="65">
                  <c:v>90.579281556468203</c:v>
                </c:pt>
                <c:pt idx="66">
                  <c:v>94.01149913264436</c:v>
                </c:pt>
                <c:pt idx="67">
                  <c:v>97.500746146909421</c:v>
                </c:pt>
                <c:pt idx="68">
                  <c:v>101.04328956013092</c:v>
                </c:pt>
                <c:pt idx="69">
                  <c:v>104.63510917669785</c:v>
                </c:pt>
                <c:pt idx="70">
                  <c:v>108.27191842610446</c:v>
                </c:pt>
                <c:pt idx="71">
                  <c:v>111.94918040463776</c:v>
                </c:pt>
                <c:pt idx="72">
                  <c:v>115.66217006702945</c:v>
                </c:pt>
                <c:pt idx="73">
                  <c:v>119.40600056045879</c:v>
                </c:pt>
                <c:pt idx="74">
                  <c:v>123.17563632675989</c:v>
                </c:pt>
                <c:pt idx="75">
                  <c:v>126.96590990709279</c:v>
                </c:pt>
                <c:pt idx="76">
                  <c:v>130.77155445069772</c:v>
                </c:pt>
                <c:pt idx="77">
                  <c:v>134.58722761103408</c:v>
                </c:pt>
                <c:pt idx="78">
                  <c:v>138.40754561216934</c:v>
                </c:pt>
                <c:pt idx="79">
                  <c:v>142.22711504991253</c:v>
                </c:pt>
                <c:pt idx="80">
                  <c:v>146.0405656921518</c:v>
                </c:pt>
                <c:pt idx="81">
                  <c:v>149.84257827779905</c:v>
                </c:pt>
                <c:pt idx="82">
                  <c:v>153.62790689005766</c:v>
                </c:pt>
                <c:pt idx="83">
                  <c:v>157.39140659971281</c:v>
                </c:pt>
                <c:pt idx="84">
                  <c:v>161.12805833145808</c:v>
                </c:pt>
                <c:pt idx="85">
                  <c:v>164.83299289507829</c:v>
                </c:pt>
                <c:pt idx="86">
                  <c:v>168.50151251580124</c:v>
                </c:pt>
                <c:pt idx="87">
                  <c:v>172.12911298028328</c:v>
                </c:pt>
                <c:pt idx="88">
                  <c:v>175.71150312727386</c:v>
                </c:pt>
                <c:pt idx="89">
                  <c:v>179.24462009122774</c:v>
                </c:pt>
                <c:pt idx="90">
                  <c:v>182.72464157588891</c:v>
                </c:pt>
                <c:pt idx="91">
                  <c:v>186.14799846057156</c:v>
                </c:pt>
                <c:pt idx="92">
                  <c:v>189.51138410093569</c:v>
                </c:pt>
                <c:pt idx="93">
                  <c:v>192.81176164105941</c:v>
                </c:pt>
                <c:pt idx="94">
                  <c:v>196.04636885883338</c:v>
                </c:pt>
                <c:pt idx="95">
                  <c:v>199.2127219381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19</c:v>
                </c:pt>
                <c:pt idx="1">
                  <c:v>19</c:v>
                </c:pt>
                <c:pt idx="2">
                  <c:v>19</c:v>
                </c:pt>
                <c:pt idx="3">
                  <c:v>20</c:v>
                </c:pt>
                <c:pt idx="4">
                  <c:v>24</c:v>
                </c:pt>
                <c:pt idx="5">
                  <c:v>28</c:v>
                </c:pt>
                <c:pt idx="6">
                  <c:v>29</c:v>
                </c:pt>
                <c:pt idx="7">
                  <c:v>30</c:v>
                </c:pt>
                <c:pt idx="8">
                  <c:v>32</c:v>
                </c:pt>
                <c:pt idx="9">
                  <c:v>34</c:v>
                </c:pt>
                <c:pt idx="10">
                  <c:v>38</c:v>
                </c:pt>
                <c:pt idx="11">
                  <c:v>42</c:v>
                </c:pt>
                <c:pt idx="12">
                  <c:v>42</c:v>
                </c:pt>
                <c:pt idx="13">
                  <c:v>43</c:v>
                </c:pt>
                <c:pt idx="14">
                  <c:v>45</c:v>
                </c:pt>
                <c:pt idx="15">
                  <c:v>46</c:v>
                </c:pt>
                <c:pt idx="16">
                  <c:v>50</c:v>
                </c:pt>
                <c:pt idx="17">
                  <c:v>56</c:v>
                </c:pt>
                <c:pt idx="18">
                  <c:v>62</c:v>
                </c:pt>
                <c:pt idx="19">
                  <c:v>63</c:v>
                </c:pt>
                <c:pt idx="20">
                  <c:v>66</c:v>
                </c:pt>
                <c:pt idx="21">
                  <c:v>68</c:v>
                </c:pt>
                <c:pt idx="22">
                  <c:v>73</c:v>
                </c:pt>
                <c:pt idx="23">
                  <c:v>76</c:v>
                </c:pt>
                <c:pt idx="24">
                  <c:v>83</c:v>
                </c:pt>
                <c:pt idx="25">
                  <c:v>88</c:v>
                </c:pt>
                <c:pt idx="26">
                  <c:v>94</c:v>
                </c:pt>
                <c:pt idx="27">
                  <c:v>100</c:v>
                </c:pt>
                <c:pt idx="28">
                  <c:v>113</c:v>
                </c:pt>
                <c:pt idx="29">
                  <c:v>122</c:v>
                </c:pt>
                <c:pt idx="30">
                  <c:v>129</c:v>
                </c:pt>
                <c:pt idx="31">
                  <c:v>137</c:v>
                </c:pt>
                <c:pt idx="32">
                  <c:v>151</c:v>
                </c:pt>
                <c:pt idx="33">
                  <c:v>161</c:v>
                </c:pt>
                <c:pt idx="34">
                  <c:v>171</c:v>
                </c:pt>
                <c:pt idx="35">
                  <c:v>179</c:v>
                </c:pt>
                <c:pt idx="36">
                  <c:v>190</c:v>
                </c:pt>
                <c:pt idx="37">
                  <c:v>200</c:v>
                </c:pt>
                <c:pt idx="38">
                  <c:v>210</c:v>
                </c:pt>
                <c:pt idx="39">
                  <c:v>225</c:v>
                </c:pt>
                <c:pt idx="40">
                  <c:v>240</c:v>
                </c:pt>
                <c:pt idx="41">
                  <c:v>256</c:v>
                </c:pt>
                <c:pt idx="42">
                  <c:v>269</c:v>
                </c:pt>
                <c:pt idx="43">
                  <c:v>285</c:v>
                </c:pt>
                <c:pt idx="44">
                  <c:v>297</c:v>
                </c:pt>
                <c:pt idx="45">
                  <c:v>311</c:v>
                </c:pt>
                <c:pt idx="46">
                  <c:v>3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270.40705250789819</c:v>
                </c:pt>
                <c:pt idx="43">
                  <c:v>285.14433601915829</c:v>
                </c:pt>
                <c:pt idx="44">
                  <c:v>300.17091505551343</c:v>
                </c:pt>
                <c:pt idx="45">
                  <c:v>315.40297059989922</c:v>
                </c:pt>
                <c:pt idx="46">
                  <c:v>331.13852186796964</c:v>
                </c:pt>
                <c:pt idx="47">
                  <c:v>347.21759941903804</c:v>
                </c:pt>
                <c:pt idx="48">
                  <c:v>363.71047012183624</c:v>
                </c:pt>
                <c:pt idx="49">
                  <c:v>380.47497567157842</c:v>
                </c:pt>
                <c:pt idx="50">
                  <c:v>397.45581935546392</c:v>
                </c:pt>
                <c:pt idx="51">
                  <c:v>414.69278081365667</c:v>
                </c:pt>
                <c:pt idx="52">
                  <c:v>432.17085178565657</c:v>
                </c:pt>
                <c:pt idx="53">
                  <c:v>449.94925915291202</c:v>
                </c:pt>
                <c:pt idx="54">
                  <c:v>467.94251571152205</c:v>
                </c:pt>
                <c:pt idx="55">
                  <c:v>486.14307888704718</c:v>
                </c:pt>
                <c:pt idx="56">
                  <c:v>504.53124247839401</c:v>
                </c:pt>
                <c:pt idx="57">
                  <c:v>523.10576395901103</c:v>
                </c:pt>
                <c:pt idx="58">
                  <c:v>541.83105456679391</c:v>
                </c:pt>
                <c:pt idx="59">
                  <c:v>560.68327907368666</c:v>
                </c:pt>
                <c:pt idx="60">
                  <c:v>579.65204237387832</c:v>
                </c:pt>
                <c:pt idx="61">
                  <c:v>598.77198695182949</c:v>
                </c:pt>
                <c:pt idx="62">
                  <c:v>618.00123118741658</c:v>
                </c:pt>
                <c:pt idx="63">
                  <c:v>637.31905287400286</c:v>
                </c:pt>
                <c:pt idx="64">
                  <c:v>656.70976625779349</c:v>
                </c:pt>
                <c:pt idx="65">
                  <c:v>676.15771334140766</c:v>
                </c:pt>
                <c:pt idx="66">
                  <c:v>695.64735208898253</c:v>
                </c:pt>
                <c:pt idx="67">
                  <c:v>715.16283159424211</c:v>
                </c:pt>
                <c:pt idx="68">
                  <c:v>734.68808502976913</c:v>
                </c:pt>
                <c:pt idx="69">
                  <c:v>754.20688644651955</c:v>
                </c:pt>
                <c:pt idx="70">
                  <c:v>773.70292030927897</c:v>
                </c:pt>
                <c:pt idx="71">
                  <c:v>793.15982535815715</c:v>
                </c:pt>
                <c:pt idx="72">
                  <c:v>812.56143053855806</c:v>
                </c:pt>
                <c:pt idx="73">
                  <c:v>831.89182250243925</c:v>
                </c:pt>
                <c:pt idx="74">
                  <c:v>851.13534020569739</c:v>
                </c:pt>
                <c:pt idx="75">
                  <c:v>870.27657525199379</c:v>
                </c:pt>
                <c:pt idx="76">
                  <c:v>889.30043884406371</c:v>
                </c:pt>
                <c:pt idx="77">
                  <c:v>908.19218400445459</c:v>
                </c:pt>
                <c:pt idx="78">
                  <c:v>926.93747162047214</c:v>
                </c:pt>
                <c:pt idx="79">
                  <c:v>945.522422412232</c:v>
                </c:pt>
                <c:pt idx="80">
                  <c:v>963.93366870539023</c:v>
                </c:pt>
                <c:pt idx="81">
                  <c:v>982.15838286343978</c:v>
                </c:pt>
                <c:pt idx="82">
                  <c:v>1000.1842810875966</c:v>
                </c:pt>
                <c:pt idx="83">
                  <c:v>1017.9996524257105</c:v>
                </c:pt>
                <c:pt idx="84">
                  <c:v>1035.5933779944182</c:v>
                </c:pt>
                <c:pt idx="85">
                  <c:v>1052.954949560688</c:v>
                </c:pt>
                <c:pt idx="86">
                  <c:v>1070.0744816803767</c:v>
                </c:pt>
                <c:pt idx="87">
                  <c:v>1086.9427315370453</c:v>
                </c:pt>
                <c:pt idx="88">
                  <c:v>1103.5511130265652</c:v>
                </c:pt>
                <c:pt idx="89">
                  <c:v>1119.8916980548975</c:v>
                </c:pt>
                <c:pt idx="90">
                  <c:v>1135.9572113565864</c:v>
                </c:pt>
                <c:pt idx="91">
                  <c:v>1151.7410342795329</c:v>
                </c:pt>
                <c:pt idx="92">
                  <c:v>1167.2372012165292</c:v>
                </c:pt>
                <c:pt idx="93">
                  <c:v>1182.4403947622543</c:v>
                </c:pt>
                <c:pt idx="94">
                  <c:v>1197.345937454666</c:v>
                </c:pt>
                <c:pt idx="95">
                  <c:v>1211.94980191566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270.60295330440101</c:v>
                </c:pt>
                <c:pt idx="43">
                  <c:v>285.62688850919733</c:v>
                </c:pt>
                <c:pt idx="44">
                  <c:v>301.04603860989107</c:v>
                </c:pt>
                <c:pt idx="45">
                  <c:v>316.79152584874032</c:v>
                </c:pt>
                <c:pt idx="46">
                  <c:v>333.17554377727447</c:v>
                </c:pt>
                <c:pt idx="47">
                  <c:v>350.05259993177106</c:v>
                </c:pt>
                <c:pt idx="48">
                  <c:v>367.50604616589203</c:v>
                </c:pt>
                <c:pt idx="49">
                  <c:v>385.40598138572966</c:v>
                </c:pt>
                <c:pt idx="50">
                  <c:v>403.70814141529627</c:v>
                </c:pt>
                <c:pt idx="51">
                  <c:v>422.46177021983249</c:v>
                </c:pt>
                <c:pt idx="52">
                  <c:v>441.66038495252087</c:v>
                </c:pt>
                <c:pt idx="53">
                  <c:v>461.37052424557442</c:v>
                </c:pt>
                <c:pt idx="54">
                  <c:v>481.51374952671387</c:v>
                </c:pt>
                <c:pt idx="55">
                  <c:v>502.08792177160313</c:v>
                </c:pt>
                <c:pt idx="56">
                  <c:v>523.07751013165262</c:v>
                </c:pt>
                <c:pt idx="57">
                  <c:v>544.48435611323953</c:v>
                </c:pt>
                <c:pt idx="58">
                  <c:v>566.27504147666923</c:v>
                </c:pt>
                <c:pt idx="59">
                  <c:v>588.42687277627624</c:v>
                </c:pt>
                <c:pt idx="60">
                  <c:v>610.92953533403113</c:v>
                </c:pt>
                <c:pt idx="61">
                  <c:v>633.81671493940166</c:v>
                </c:pt>
                <c:pt idx="62">
                  <c:v>657.04488350583699</c:v>
                </c:pt>
                <c:pt idx="63">
                  <c:v>680.59047706877743</c:v>
                </c:pt>
                <c:pt idx="64">
                  <c:v>704.43385907259994</c:v>
                </c:pt>
                <c:pt idx="65">
                  <c:v>728.55452910594295</c:v>
                </c:pt>
                <c:pt idx="66">
                  <c:v>752.93127103037773</c:v>
                </c:pt>
                <c:pt idx="67">
                  <c:v>777.5415969053588</c:v>
                </c:pt>
                <c:pt idx="68">
                  <c:v>802.36190159131547</c:v>
                </c:pt>
                <c:pt idx="69">
                  <c:v>827.36756093737267</c:v>
                </c:pt>
                <c:pt idx="70">
                  <c:v>852.53305493375308</c:v>
                </c:pt>
                <c:pt idx="71">
                  <c:v>877.83205505439378</c:v>
                </c:pt>
                <c:pt idx="72">
                  <c:v>903.23779252493262</c:v>
                </c:pt>
                <c:pt idx="73">
                  <c:v>928.723190668033</c:v>
                </c:pt>
                <c:pt idx="74">
                  <c:v>954.26090157378133</c:v>
                </c:pt>
                <c:pt idx="75">
                  <c:v>979.82335803197907</c:v>
                </c:pt>
                <c:pt idx="76">
                  <c:v>1005.3829200285838</c:v>
                </c:pt>
                <c:pt idx="77">
                  <c:v>1030.9119610616863</c:v>
                </c:pt>
                <c:pt idx="78">
                  <c:v>1056.3830170537008</c:v>
                </c:pt>
                <c:pt idx="79">
                  <c:v>1081.7689169472801</c:v>
                </c:pt>
                <c:pt idx="80">
                  <c:v>1107.042914973591</c:v>
                </c:pt>
                <c:pt idx="81">
                  <c:v>1132.1787900606419</c:v>
                </c:pt>
                <c:pt idx="82">
                  <c:v>1157.15091119625</c:v>
                </c:pt>
                <c:pt idx="83">
                  <c:v>1181.9343368549958</c:v>
                </c:pt>
                <c:pt idx="84">
                  <c:v>1206.5048987388791</c:v>
                </c:pt>
                <c:pt idx="85">
                  <c:v>1230.839283068093</c:v>
                </c:pt>
                <c:pt idx="86">
                  <c:v>1254.9151001490573</c:v>
                </c:pt>
                <c:pt idx="87">
                  <c:v>1278.7109621312402</c:v>
                </c:pt>
                <c:pt idx="88">
                  <c:v>1302.2065491614353</c:v>
                </c:pt>
                <c:pt idx="89">
                  <c:v>1325.3826545193212</c:v>
                </c:pt>
                <c:pt idx="90">
                  <c:v>1348.2212171084213</c:v>
                </c:pt>
                <c:pt idx="91">
                  <c:v>1370.7053624166533</c:v>
                </c:pt>
                <c:pt idx="92">
                  <c:v>1392.8194291922057</c:v>
                </c:pt>
                <c:pt idx="93">
                  <c:v>1414.5489902296981</c:v>
                </c:pt>
                <c:pt idx="94">
                  <c:v>1435.8808642535325</c:v>
                </c:pt>
                <c:pt idx="95">
                  <c:v>1456.80312737424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270.79996539030822</c:v>
                </c:pt>
                <c:pt idx="43">
                  <c:v>286.1135517517244</c:v>
                </c:pt>
                <c:pt idx="44">
                  <c:v>301.93155652041185</c:v>
                </c:pt>
                <c:pt idx="45">
                  <c:v>318.20182107063425</c:v>
                </c:pt>
                <c:pt idx="46">
                  <c:v>335.25285274455985</c:v>
                </c:pt>
                <c:pt idx="47">
                  <c:v>352.95612022235696</c:v>
                </c:pt>
                <c:pt idx="48">
                  <c:v>371.41086335976132</c:v>
                </c:pt>
                <c:pt idx="49">
                  <c:v>390.50254146688593</c:v>
                </c:pt>
                <c:pt idx="50">
                  <c:v>410.20128549535059</c:v>
                </c:pt>
                <c:pt idx="51">
                  <c:v>430.56938885683405</c:v>
                </c:pt>
                <c:pt idx="52">
                  <c:v>451.61265204706223</c:v>
                </c:pt>
                <c:pt idx="53">
                  <c:v>473.40878776676971</c:v>
                </c:pt>
                <c:pt idx="54">
                  <c:v>495.89031316227192</c:v>
                </c:pt>
                <c:pt idx="55">
                  <c:v>519.06437741935531</c:v>
                </c:pt>
                <c:pt idx="56">
                  <c:v>542.92344658355296</c:v>
                </c:pt>
                <c:pt idx="57">
                  <c:v>567.47612490779454</c:v>
                </c:pt>
                <c:pt idx="58">
                  <c:v>592.69464945508025</c:v>
                </c:pt>
                <c:pt idx="59">
                  <c:v>618.56069580516373</c:v>
                </c:pt>
                <c:pt idx="60">
                  <c:v>645.06691758749878</c:v>
                </c:pt>
                <c:pt idx="61">
                  <c:v>672.24853329600865</c:v>
                </c:pt>
                <c:pt idx="62">
                  <c:v>700.06239860953428</c:v>
                </c:pt>
                <c:pt idx="63">
                  <c:v>728.4836333927974</c:v>
                </c:pt>
                <c:pt idx="64">
                  <c:v>757.48962671354934</c:v>
                </c:pt>
                <c:pt idx="65">
                  <c:v>787.05546126406568</c:v>
                </c:pt>
                <c:pt idx="66">
                  <c:v>817.1540941345703</c:v>
                </c:pt>
                <c:pt idx="67">
                  <c:v>847.75560804729992</c:v>
                </c:pt>
                <c:pt idx="68">
                  <c:v>878.8274196217011</c:v>
                </c:pt>
                <c:pt idx="69">
                  <c:v>910.33441350429587</c:v>
                </c:pt>
                <c:pt idx="70">
                  <c:v>942.23912518016868</c:v>
                </c:pt>
                <c:pt idx="71">
                  <c:v>974.50188352807925</c:v>
                </c:pt>
                <c:pt idx="72">
                  <c:v>1007.0813517504076</c:v>
                </c:pt>
                <c:pt idx="73">
                  <c:v>1039.9347569300096</c:v>
                </c:pt>
                <c:pt idx="74">
                  <c:v>1073.0180037434016</c:v>
                </c:pt>
                <c:pt idx="75">
                  <c:v>1106.2858223057669</c:v>
                </c:pt>
                <c:pt idx="76">
                  <c:v>1139.6920512187137</c:v>
                </c:pt>
                <c:pt idx="77">
                  <c:v>1173.1898468233312</c:v>
                </c:pt>
                <c:pt idx="78">
                  <c:v>1206.7319828250727</c:v>
                </c:pt>
                <c:pt idx="79">
                  <c:v>1240.2711298533704</c:v>
                </c:pt>
                <c:pt idx="80">
                  <c:v>1273.7601419795124</c:v>
                </c:pt>
                <c:pt idx="81">
                  <c:v>1307.1523002268671</c:v>
                </c:pt>
                <c:pt idx="82">
                  <c:v>1340.401511153945</c:v>
                </c:pt>
                <c:pt idx="83">
                  <c:v>1373.4625499496835</c:v>
                </c:pt>
                <c:pt idx="84">
                  <c:v>1406.2912791135013</c:v>
                </c:pt>
                <c:pt idx="85">
                  <c:v>1438.8448601687332</c:v>
                </c:pt>
                <c:pt idx="86">
                  <c:v>1471.081943983856</c:v>
                </c:pt>
                <c:pt idx="87">
                  <c:v>1502.9628658768829</c:v>
                </c:pt>
                <c:pt idx="88">
                  <c:v>1534.4498173789491</c:v>
                </c:pt>
                <c:pt idx="89">
                  <c:v>1565.5069818051454</c:v>
                </c:pt>
                <c:pt idx="90">
                  <c:v>1596.1006440904241</c:v>
                </c:pt>
                <c:pt idx="91">
                  <c:v>1626.1993026968453</c:v>
                </c:pt>
                <c:pt idx="92">
                  <c:v>1655.773752772564</c:v>
                </c:pt>
                <c:pt idx="93">
                  <c:v>1684.7971518053937</c:v>
                </c:pt>
                <c:pt idx="94">
                  <c:v>1713.2450637377613</c:v>
                </c:pt>
                <c:pt idx="95">
                  <c:v>1741.0954932922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5</c:v>
                </c:pt>
                <c:pt idx="1">
                  <c:v>5</c:v>
                </c:pt>
                <c:pt idx="2">
                  <c:v>7</c:v>
                </c:pt>
                <c:pt idx="3">
                  <c:v>7</c:v>
                </c:pt>
                <c:pt idx="4">
                  <c:v>7</c:v>
                </c:pt>
                <c:pt idx="5">
                  <c:v>8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  <c:pt idx="9">
                  <c:v>10</c:v>
                </c:pt>
                <c:pt idx="10">
                  <c:v>10</c:v>
                </c:pt>
                <c:pt idx="11">
                  <c:v>12</c:v>
                </c:pt>
                <c:pt idx="12">
                  <c:v>13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5</c:v>
                </c:pt>
                <c:pt idx="17">
                  <c:v>16</c:v>
                </c:pt>
                <c:pt idx="18">
                  <c:v>18</c:v>
                </c:pt>
                <c:pt idx="19">
                  <c:v>21</c:v>
                </c:pt>
                <c:pt idx="20">
                  <c:v>24</c:v>
                </c:pt>
                <c:pt idx="21">
                  <c:v>26</c:v>
                </c:pt>
                <c:pt idx="22">
                  <c:v>27</c:v>
                </c:pt>
                <c:pt idx="23">
                  <c:v>29</c:v>
                </c:pt>
                <c:pt idx="24">
                  <c:v>29</c:v>
                </c:pt>
                <c:pt idx="25">
                  <c:v>30</c:v>
                </c:pt>
                <c:pt idx="26">
                  <c:v>31</c:v>
                </c:pt>
                <c:pt idx="27">
                  <c:v>33</c:v>
                </c:pt>
                <c:pt idx="28">
                  <c:v>34</c:v>
                </c:pt>
                <c:pt idx="29">
                  <c:v>35</c:v>
                </c:pt>
                <c:pt idx="30">
                  <c:v>38</c:v>
                </c:pt>
                <c:pt idx="31">
                  <c:v>41</c:v>
                </c:pt>
                <c:pt idx="32">
                  <c:v>46</c:v>
                </c:pt>
                <c:pt idx="33">
                  <c:v>48</c:v>
                </c:pt>
                <c:pt idx="34">
                  <c:v>52</c:v>
                </c:pt>
                <c:pt idx="35">
                  <c:v>58</c:v>
                </c:pt>
                <c:pt idx="36">
                  <c:v>64</c:v>
                </c:pt>
                <c:pt idx="37">
                  <c:v>68</c:v>
                </c:pt>
                <c:pt idx="38">
                  <c:v>77</c:v>
                </c:pt>
                <c:pt idx="39">
                  <c:v>79</c:v>
                </c:pt>
                <c:pt idx="40">
                  <c:v>85</c:v>
                </c:pt>
                <c:pt idx="41">
                  <c:v>90</c:v>
                </c:pt>
                <c:pt idx="42">
                  <c:v>96</c:v>
                </c:pt>
                <c:pt idx="43">
                  <c:v>99</c:v>
                </c:pt>
                <c:pt idx="44">
                  <c:v>103</c:v>
                </c:pt>
                <c:pt idx="45">
                  <c:v>109</c:v>
                </c:pt>
                <c:pt idx="46">
                  <c:v>1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96.897413260460297</c:v>
                </c:pt>
                <c:pt idx="43">
                  <c:v>103.95126144476318</c:v>
                </c:pt>
                <c:pt idx="44">
                  <c:v>111.14239979422183</c:v>
                </c:pt>
                <c:pt idx="45">
                  <c:v>118.43088552398032</c:v>
                </c:pt>
                <c:pt idx="46">
                  <c:v>125.95854696583731</c:v>
                </c:pt>
                <c:pt idx="47">
                  <c:v>133.64956140806541</c:v>
                </c:pt>
                <c:pt idx="48">
                  <c:v>141.53913569945328</c:v>
                </c:pt>
                <c:pt idx="49">
                  <c:v>149.55828494978346</c:v>
                </c:pt>
                <c:pt idx="50">
                  <c:v>157.67977791001624</c:v>
                </c:pt>
                <c:pt idx="51">
                  <c:v>165.92400191145529</c:v>
                </c:pt>
                <c:pt idx="52">
                  <c:v>174.28475204315612</c:v>
                </c:pt>
                <c:pt idx="53">
                  <c:v>182.78869762376326</c:v>
                </c:pt>
                <c:pt idx="54">
                  <c:v>191.3945756786506</c:v>
                </c:pt>
                <c:pt idx="55">
                  <c:v>200.0997067300969</c:v>
                </c:pt>
                <c:pt idx="56">
                  <c:v>208.89502256538583</c:v>
                </c:pt>
                <c:pt idx="57">
                  <c:v>217.7800982487945</c:v>
                </c:pt>
                <c:pt idx="58">
                  <c:v>226.73747429306519</c:v>
                </c:pt>
                <c:pt idx="59">
                  <c:v>235.75614181144616</c:v>
                </c:pt>
                <c:pt idx="60">
                  <c:v>244.83109279905318</c:v>
                </c:pt>
                <c:pt idx="61">
                  <c:v>253.97831827264355</c:v>
                </c:pt>
                <c:pt idx="62">
                  <c:v>263.17811122615501</c:v>
                </c:pt>
                <c:pt idx="63">
                  <c:v>272.42062774053545</c:v>
                </c:pt>
                <c:pt idx="64">
                  <c:v>281.69836798681649</c:v>
                </c:pt>
                <c:pt idx="65">
                  <c:v>291.003844682622</c:v>
                </c:pt>
                <c:pt idx="66">
                  <c:v>300.32962489779356</c:v>
                </c:pt>
                <c:pt idx="67">
                  <c:v>309.66812694087133</c:v>
                </c:pt>
                <c:pt idx="68">
                  <c:v>319.01166419002305</c:v>
                </c:pt>
                <c:pt idx="69">
                  <c:v>328.35247261956852</c:v>
                </c:pt>
                <c:pt idx="70">
                  <c:v>337.6827443537976</c:v>
                </c:pt>
                <c:pt idx="71">
                  <c:v>346.99464908647275</c:v>
                </c:pt>
                <c:pt idx="72">
                  <c:v>356.28044646691455</c:v>
                </c:pt>
                <c:pt idx="73">
                  <c:v>365.53251832335707</c:v>
                </c:pt>
                <c:pt idx="74">
                  <c:v>374.74336603310201</c:v>
                </c:pt>
                <c:pt idx="75">
                  <c:v>383.90561092628212</c:v>
                </c:pt>
                <c:pt idx="76">
                  <c:v>393.0120261120764</c:v>
                </c:pt>
                <c:pt idx="77">
                  <c:v>402.05554715675686</c:v>
                </c:pt>
                <c:pt idx="78">
                  <c:v>411.02930389510107</c:v>
                </c:pt>
                <c:pt idx="79">
                  <c:v>419.92664545243878</c:v>
                </c:pt>
                <c:pt idx="80">
                  <c:v>428.74116486765678</c:v>
                </c:pt>
                <c:pt idx="81">
                  <c:v>437.46671264154293</c:v>
                </c:pt>
                <c:pt idx="82">
                  <c:v>446.097398920015</c:v>
                </c:pt>
                <c:pt idx="83">
                  <c:v>454.62760744031135</c:v>
                </c:pt>
                <c:pt idx="84">
                  <c:v>463.05200474483024</c:v>
                </c:pt>
                <c:pt idx="85">
                  <c:v>471.36554912307878</c:v>
                </c:pt>
                <c:pt idx="86">
                  <c:v>479.56349653204893</c:v>
                </c:pt>
                <c:pt idx="87">
                  <c:v>487.64141009235038</c:v>
                </c:pt>
                <c:pt idx="88">
                  <c:v>495.59516680007727</c:v>
                </c:pt>
                <c:pt idx="89">
                  <c:v>503.4209582801538</c:v>
                </c:pt>
                <c:pt idx="90">
                  <c:v>511.11528848017031</c:v>
                </c:pt>
                <c:pt idx="91">
                  <c:v>518.67497550787766</c:v>
                </c:pt>
                <c:pt idx="92">
                  <c:v>526.09714998432241</c:v>
                </c:pt>
                <c:pt idx="93">
                  <c:v>533.37925277502984</c:v>
                </c:pt>
                <c:pt idx="94">
                  <c:v>540.51903110305534</c:v>
                </c:pt>
                <c:pt idx="95">
                  <c:v>547.514543218658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96.990694632939437</c:v>
                </c:pt>
                <c:pt idx="43">
                  <c:v>104.18105294353235</c:v>
                </c:pt>
                <c:pt idx="44">
                  <c:v>111.55917324572921</c:v>
                </c:pt>
                <c:pt idx="45">
                  <c:v>119.0922502346027</c:v>
                </c:pt>
                <c:pt idx="46">
                  <c:v>126.92888494319841</c:v>
                </c:pt>
                <c:pt idx="47">
                  <c:v>135.00017329355416</c:v>
                </c:pt>
                <c:pt idx="48">
                  <c:v>143.34758804629416</c:v>
                </c:pt>
                <c:pt idx="49">
                  <c:v>151.90802017638669</c:v>
                </c:pt>
                <c:pt idx="50">
                  <c:v>160.65952788665166</c:v>
                </c:pt>
                <c:pt idx="51">
                  <c:v>169.62703833887045</c:v>
                </c:pt>
                <c:pt idx="52">
                  <c:v>178.80844243710249</c:v>
                </c:pt>
                <c:pt idx="53">
                  <c:v>188.23393267072464</c:v>
                </c:pt>
                <c:pt idx="54">
                  <c:v>197.86563523717342</c:v>
                </c:pt>
                <c:pt idx="55">
                  <c:v>207.7034760644666</c:v>
                </c:pt>
                <c:pt idx="56">
                  <c:v>217.74040907505508</c:v>
                </c:pt>
                <c:pt idx="57">
                  <c:v>227.97751167039269</c:v>
                </c:pt>
                <c:pt idx="58">
                  <c:v>238.3983903431068</c:v>
                </c:pt>
                <c:pt idx="59">
                  <c:v>248.99260873030966</c:v>
                </c:pt>
                <c:pt idx="60">
                  <c:v>259.75522289687359</c:v>
                </c:pt>
                <c:pt idx="61">
                  <c:v>270.70179103846812</c:v>
                </c:pt>
                <c:pt idx="62">
                  <c:v>281.81183839521344</c:v>
                </c:pt>
                <c:pt idx="63">
                  <c:v>293.07418292203198</c:v>
                </c:pt>
                <c:pt idx="64">
                  <c:v>304.47945669750482</c:v>
                </c:pt>
                <c:pt idx="65">
                  <c:v>316.01787728469964</c:v>
                </c:pt>
                <c:pt idx="66">
                  <c:v>327.67931780042386</c:v>
                </c:pt>
                <c:pt idx="67">
                  <c:v>339.45304101645644</c:v>
                </c:pt>
                <c:pt idx="68">
                  <c:v>351.32777230456855</c:v>
                </c:pt>
                <c:pt idx="69">
                  <c:v>363.29174699878723</c:v>
                </c:pt>
                <c:pt idx="70">
                  <c:v>375.33276961653473</c:v>
                </c:pt>
                <c:pt idx="71">
                  <c:v>387.43825620832172</c:v>
                </c:pt>
                <c:pt idx="72">
                  <c:v>399.59540972694458</c:v>
                </c:pt>
                <c:pt idx="73">
                  <c:v>411.79128318501785</c:v>
                </c:pt>
                <c:pt idx="74">
                  <c:v>424.01279708319106</c:v>
                </c:pt>
                <c:pt idx="75">
                  <c:v>436.24676451259762</c:v>
                </c:pt>
                <c:pt idx="76">
                  <c:v>448.47996090276604</c:v>
                </c:pt>
                <c:pt idx="77">
                  <c:v>460.69916534510924</c:v>
                </c:pt>
                <c:pt idx="78">
                  <c:v>472.8912321014634</c:v>
                </c:pt>
                <c:pt idx="79">
                  <c:v>485.04315328285031</c:v>
                </c:pt>
                <c:pt idx="80">
                  <c:v>497.14212190947535</c:v>
                </c:pt>
                <c:pt idx="81">
                  <c:v>509.17557940585721</c:v>
                </c:pt>
                <c:pt idx="82">
                  <c:v>521.13124738708495</c:v>
                </c:pt>
                <c:pt idx="83">
                  <c:v>532.9971753369706</c:v>
                </c:pt>
                <c:pt idx="84">
                  <c:v>544.76178073631399</c:v>
                </c:pt>
                <c:pt idx="85">
                  <c:v>556.41388807669136</c:v>
                </c:pt>
                <c:pt idx="86">
                  <c:v>567.94276236403346</c:v>
                </c:pt>
                <c:pt idx="87">
                  <c:v>579.33814638941078</c:v>
                </c:pt>
                <c:pt idx="88">
                  <c:v>590.59029241893677</c:v>
                </c:pt>
                <c:pt idx="89">
                  <c:v>601.68998405269872</c:v>
                </c:pt>
                <c:pt idx="90">
                  <c:v>612.62855209492545</c:v>
                </c:pt>
                <c:pt idx="91">
                  <c:v>623.39789427906999</c:v>
                </c:pt>
                <c:pt idx="92">
                  <c:v>633.99048820898327</c:v>
                </c:pt>
                <c:pt idx="93">
                  <c:v>644.39940146718459</c:v>
                </c:pt>
                <c:pt idx="94">
                  <c:v>654.61829748669777</c:v>
                </c:pt>
                <c:pt idx="95">
                  <c:v>664.64144113957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97.084505216138922</c:v>
                </c:pt>
                <c:pt idx="43">
                  <c:v>104.41280198876092</c:v>
                </c:pt>
                <c:pt idx="44">
                  <c:v>111.98089656578691</c:v>
                </c:pt>
                <c:pt idx="45">
                  <c:v>119.76396809072455</c:v>
                </c:pt>
                <c:pt idx="46">
                  <c:v>127.91840992105119</c:v>
                </c:pt>
                <c:pt idx="47">
                  <c:v>136.38342101394204</c:v>
                </c:pt>
                <c:pt idx="48">
                  <c:v>145.20807700494734</c:v>
                </c:pt>
                <c:pt idx="49">
                  <c:v>154.33662544183247</c:v>
                </c:pt>
                <c:pt idx="50">
                  <c:v>163.75401919911837</c:v>
                </c:pt>
                <c:pt idx="51">
                  <c:v>173.49143756686831</c:v>
                </c:pt>
                <c:pt idx="52">
                  <c:v>183.55266297522166</c:v>
                </c:pt>
                <c:pt idx="53">
                  <c:v>193.97325759357199</c:v>
                </c:pt>
                <c:pt idx="54">
                  <c:v>204.72060569666112</c:v>
                </c:pt>
                <c:pt idx="55">
                  <c:v>215.79909797362828</c:v>
                </c:pt>
                <c:pt idx="56">
                  <c:v>227.20554073427303</c:v>
                </c:pt>
                <c:pt idx="57">
                  <c:v>238.94427685776546</c:v>
                </c:pt>
                <c:pt idx="58">
                  <c:v>251.00165035544092</c:v>
                </c:pt>
                <c:pt idx="59">
                  <c:v>263.36934693274566</c:v>
                </c:pt>
                <c:pt idx="60">
                  <c:v>276.04387518511049</c:v>
                </c:pt>
                <c:pt idx="61">
                  <c:v>289.04155949653921</c:v>
                </c:pt>
                <c:pt idx="62">
                  <c:v>302.34213781482447</c:v>
                </c:pt>
                <c:pt idx="63">
                  <c:v>315.93383001716688</c:v>
                </c:pt>
                <c:pt idx="64">
                  <c:v>329.80587831626707</c:v>
                </c:pt>
                <c:pt idx="65">
                  <c:v>343.94642041966478</c:v>
                </c:pt>
                <c:pt idx="66">
                  <c:v>358.34257464869683</c:v>
                </c:pt>
                <c:pt idx="67">
                  <c:v>372.98008173850724</c:v>
                </c:pt>
                <c:pt idx="68">
                  <c:v>387.84340283669292</c:v>
                </c:pt>
                <c:pt idx="69">
                  <c:v>402.91578393962931</c:v>
                </c:pt>
                <c:pt idx="70">
                  <c:v>418.17934350078906</c:v>
                </c:pt>
                <c:pt idx="71">
                  <c:v>433.61514117544573</c:v>
                </c:pt>
                <c:pt idx="72">
                  <c:v>449.20343521697617</c:v>
                </c:pt>
                <c:pt idx="73">
                  <c:v>464.9237918625268</c:v>
                </c:pt>
                <c:pt idx="74">
                  <c:v>480.75513936798359</c:v>
                </c:pt>
                <c:pt idx="75">
                  <c:v>496.67583886463422</c:v>
                </c:pt>
                <c:pt idx="76">
                  <c:v>512.66381913302268</c:v>
                </c:pt>
                <c:pt idx="77">
                  <c:v>528.69667659816946</c:v>
                </c:pt>
                <c:pt idx="78">
                  <c:v>544.75181890309841</c:v>
                </c:pt>
                <c:pt idx="79">
                  <c:v>560.80659882539192</c:v>
                </c:pt>
                <c:pt idx="80">
                  <c:v>576.83845098334905</c:v>
                </c:pt>
                <c:pt idx="81">
                  <c:v>592.82500822585735</c:v>
                </c:pt>
                <c:pt idx="82">
                  <c:v>608.7441973255178</c:v>
                </c:pt>
                <c:pt idx="83">
                  <c:v>624.57435545363114</c:v>
                </c:pt>
                <c:pt idx="84">
                  <c:v>640.29433495865044</c:v>
                </c:pt>
                <c:pt idx="85">
                  <c:v>655.88360491910146</c:v>
                </c:pt>
                <c:pt idx="86">
                  <c:v>671.32234262541465</c:v>
                </c:pt>
                <c:pt idx="87">
                  <c:v>686.59152716579581</c:v>
                </c:pt>
                <c:pt idx="88">
                  <c:v>701.67302183175138</c:v>
                </c:pt>
                <c:pt idx="89">
                  <c:v>716.54963952651281</c:v>
                </c:pt>
                <c:pt idx="90">
                  <c:v>731.20519595716235</c:v>
                </c:pt>
                <c:pt idx="91">
                  <c:v>745.62456356489315</c:v>
                </c:pt>
                <c:pt idx="92">
                  <c:v>759.79371177638825</c:v>
                </c:pt>
                <c:pt idx="93">
                  <c:v>773.69973886278626</c:v>
                </c:pt>
                <c:pt idx="94">
                  <c:v>787.33089352444017</c:v>
                </c:pt>
                <c:pt idx="95">
                  <c:v>800.676591680617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4</c:v>
                </c:pt>
                <c:pt idx="1">
                  <c:v>4</c:v>
                </c:pt>
                <c:pt idx="2">
                  <c:v>4</c:v>
                </c:pt>
                <c:pt idx="3">
                  <c:v>4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8</c:v>
                </c:pt>
                <c:pt idx="10">
                  <c:v>10</c:v>
                </c:pt>
                <c:pt idx="11">
                  <c:v>10</c:v>
                </c:pt>
                <c:pt idx="12">
                  <c:v>12</c:v>
                </c:pt>
                <c:pt idx="13">
                  <c:v>12</c:v>
                </c:pt>
                <c:pt idx="14">
                  <c:v>12</c:v>
                </c:pt>
                <c:pt idx="15">
                  <c:v>12</c:v>
                </c:pt>
                <c:pt idx="16">
                  <c:v>13</c:v>
                </c:pt>
                <c:pt idx="17">
                  <c:v>14</c:v>
                </c:pt>
                <c:pt idx="18">
                  <c:v>14</c:v>
                </c:pt>
                <c:pt idx="19">
                  <c:v>14</c:v>
                </c:pt>
                <c:pt idx="20">
                  <c:v>15</c:v>
                </c:pt>
                <c:pt idx="21">
                  <c:v>16</c:v>
                </c:pt>
                <c:pt idx="22">
                  <c:v>18</c:v>
                </c:pt>
                <c:pt idx="23">
                  <c:v>21</c:v>
                </c:pt>
                <c:pt idx="24">
                  <c:v>22</c:v>
                </c:pt>
                <c:pt idx="25">
                  <c:v>26</c:v>
                </c:pt>
                <c:pt idx="26">
                  <c:v>29</c:v>
                </c:pt>
                <c:pt idx="27">
                  <c:v>31</c:v>
                </c:pt>
                <c:pt idx="28">
                  <c:v>32</c:v>
                </c:pt>
                <c:pt idx="29">
                  <c:v>36</c:v>
                </c:pt>
                <c:pt idx="30">
                  <c:v>38</c:v>
                </c:pt>
                <c:pt idx="31">
                  <c:v>42</c:v>
                </c:pt>
                <c:pt idx="32">
                  <c:v>44</c:v>
                </c:pt>
                <c:pt idx="33">
                  <c:v>45</c:v>
                </c:pt>
                <c:pt idx="34">
                  <c:v>51</c:v>
                </c:pt>
                <c:pt idx="35">
                  <c:v>56</c:v>
                </c:pt>
                <c:pt idx="36">
                  <c:v>60</c:v>
                </c:pt>
                <c:pt idx="37">
                  <c:v>65</c:v>
                </c:pt>
                <c:pt idx="38">
                  <c:v>71</c:v>
                </c:pt>
                <c:pt idx="39">
                  <c:v>78</c:v>
                </c:pt>
                <c:pt idx="40">
                  <c:v>82</c:v>
                </c:pt>
                <c:pt idx="41">
                  <c:v>87</c:v>
                </c:pt>
                <c:pt idx="42">
                  <c:v>92</c:v>
                </c:pt>
                <c:pt idx="43">
                  <c:v>93</c:v>
                </c:pt>
                <c:pt idx="44">
                  <c:v>96</c:v>
                </c:pt>
                <c:pt idx="45">
                  <c:v>103</c:v>
                </c:pt>
                <c:pt idx="46">
                  <c:v>1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93.376211892031236</c:v>
                </c:pt>
                <c:pt idx="43">
                  <c:v>99.89646075775795</c:v>
                </c:pt>
                <c:pt idx="44">
                  <c:v>106.5432056530245</c:v>
                </c:pt>
                <c:pt idx="45">
                  <c:v>113.27958647893657</c:v>
                </c:pt>
                <c:pt idx="46">
                  <c:v>120.23641991481814</c:v>
                </c:pt>
                <c:pt idx="47">
                  <c:v>127.34387736104328</c:v>
                </c:pt>
                <c:pt idx="48">
                  <c:v>134.63504840727762</c:v>
                </c:pt>
                <c:pt idx="49">
                  <c:v>142.04583982468156</c:v>
                </c:pt>
                <c:pt idx="50">
                  <c:v>149.55081532404824</c:v>
                </c:pt>
                <c:pt idx="51">
                  <c:v>157.16928725208999</c:v>
                </c:pt>
                <c:pt idx="52">
                  <c:v>164.89585949237372</c:v>
                </c:pt>
                <c:pt idx="53">
                  <c:v>172.75460159982055</c:v>
                </c:pt>
                <c:pt idx="54">
                  <c:v>180.70725220562724</c:v>
                </c:pt>
                <c:pt idx="55">
                  <c:v>188.75165731294993</c:v>
                </c:pt>
                <c:pt idx="56">
                  <c:v>196.87956091672069</c:v>
                </c:pt>
                <c:pt idx="57">
                  <c:v>205.09062911215085</c:v>
                </c:pt>
                <c:pt idx="58">
                  <c:v>213.36857565991471</c:v>
                </c:pt>
                <c:pt idx="59">
                  <c:v>221.70336304768458</c:v>
                </c:pt>
                <c:pt idx="60">
                  <c:v>230.09035083883487</c:v>
                </c:pt>
                <c:pt idx="61">
                  <c:v>238.54411567236889</c:v>
                </c:pt>
                <c:pt idx="62">
                  <c:v>247.04655895108417</c:v>
                </c:pt>
                <c:pt idx="63">
                  <c:v>255.58860727039718</c:v>
                </c:pt>
                <c:pt idx="64">
                  <c:v>264.16333091031618</c:v>
                </c:pt>
                <c:pt idx="65">
                  <c:v>272.76381149212727</c:v>
                </c:pt>
                <c:pt idx="66">
                  <c:v>281.3831804783876</c:v>
                </c:pt>
                <c:pt idx="67">
                  <c:v>290.01443150328021</c:v>
                </c:pt>
                <c:pt idx="68">
                  <c:v>298.65046065957881</c:v>
                </c:pt>
                <c:pt idx="69">
                  <c:v>307.28409206081392</c:v>
                </c:pt>
                <c:pt idx="70">
                  <c:v>315.9081089509848</c:v>
                </c:pt>
                <c:pt idx="71">
                  <c:v>324.51527365137656</c:v>
                </c:pt>
                <c:pt idx="72">
                  <c:v>333.09843125796601</c:v>
                </c:pt>
                <c:pt idx="73">
                  <c:v>341.65053939756353</c:v>
                </c:pt>
                <c:pt idx="74">
                  <c:v>350.16466578166717</c:v>
                </c:pt>
                <c:pt idx="75">
                  <c:v>358.63398866264055</c:v>
                </c:pt>
                <c:pt idx="76">
                  <c:v>367.05182617631402</c:v>
                </c:pt>
                <c:pt idx="77">
                  <c:v>375.41164622695158</c:v>
                </c:pt>
                <c:pt idx="78">
                  <c:v>383.70709596149419</c:v>
                </c:pt>
                <c:pt idx="79">
                  <c:v>391.93202495013162</c:v>
                </c:pt>
                <c:pt idx="80">
                  <c:v>400.08050789204481</c:v>
                </c:pt>
                <c:pt idx="81">
                  <c:v>408.14685711788843</c:v>
                </c:pt>
                <c:pt idx="82">
                  <c:v>416.12562473426692</c:v>
                </c:pt>
                <c:pt idx="83">
                  <c:v>424.01161553623018</c:v>
                </c:pt>
                <c:pt idx="84">
                  <c:v>431.79989552874952</c:v>
                </c:pt>
                <c:pt idx="85">
                  <c:v>439.48580020891603</c:v>
                </c:pt>
                <c:pt idx="86">
                  <c:v>447.06494007674326</c:v>
                </c:pt>
                <c:pt idx="87">
                  <c:v>454.53320941312006</c:v>
                </c:pt>
                <c:pt idx="88">
                  <c:v>461.88679247368719</c:v>
                </c:pt>
                <c:pt idx="89">
                  <c:v>469.12216423103689</c:v>
                </c:pt>
                <c:pt idx="90">
                  <c:v>476.23608830331875</c:v>
                </c:pt>
                <c:pt idx="91">
                  <c:v>483.22561866173453</c:v>
                </c:pt>
                <c:pt idx="92">
                  <c:v>490.08809812945913</c:v>
                </c:pt>
                <c:pt idx="93">
                  <c:v>496.82115630152845</c:v>
                </c:pt>
                <c:pt idx="94">
                  <c:v>503.42270597479785</c:v>
                </c:pt>
                <c:pt idx="95">
                  <c:v>509.890947400537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93.462268808622781</c:v>
                </c:pt>
                <c:pt idx="43">
                  <c:v>100.10846102163316</c:v>
                </c:pt>
                <c:pt idx="44">
                  <c:v>106.92772490242315</c:v>
                </c:pt>
                <c:pt idx="45">
                  <c:v>113.88979305101731</c:v>
                </c:pt>
                <c:pt idx="46">
                  <c:v>121.13173845936754</c:v>
                </c:pt>
                <c:pt idx="47">
                  <c:v>128.59012410705509</c:v>
                </c:pt>
                <c:pt idx="48">
                  <c:v>136.30383251340152</c:v>
                </c:pt>
                <c:pt idx="49">
                  <c:v>144.21420497428517</c:v>
                </c:pt>
                <c:pt idx="50">
                  <c:v>152.30069759027094</c:v>
                </c:pt>
                <c:pt idx="51">
                  <c:v>160.5868225250274</c:v>
                </c:pt>
                <c:pt idx="52">
                  <c:v>169.07097491940024</c:v>
                </c:pt>
                <c:pt idx="53">
                  <c:v>177.78048912565805</c:v>
                </c:pt>
                <c:pt idx="54">
                  <c:v>186.68024191501951</c:v>
                </c:pt>
                <c:pt idx="55">
                  <c:v>195.77049421423487</c:v>
                </c:pt>
                <c:pt idx="56">
                  <c:v>205.04486738679964</c:v>
                </c:pt>
                <c:pt idx="57">
                  <c:v>214.50442530411146</c:v>
                </c:pt>
                <c:pt idx="58">
                  <c:v>224.13387646162553</c:v>
                </c:pt>
                <c:pt idx="59">
                  <c:v>233.92372158629883</c:v>
                </c:pt>
                <c:pt idx="60">
                  <c:v>243.86938833420817</c:v>
                </c:pt>
                <c:pt idx="61">
                  <c:v>253.98506196686148</c:v>
                </c:pt>
                <c:pt idx="62">
                  <c:v>264.25194125525456</c:v>
                </c:pt>
                <c:pt idx="63">
                  <c:v>274.65972354154661</c:v>
                </c:pt>
                <c:pt idx="64">
                  <c:v>285.19976027653297</c:v>
                </c:pt>
                <c:pt idx="65">
                  <c:v>295.86301939150258</c:v>
                </c:pt>
                <c:pt idx="66">
                  <c:v>306.6401497787819</c:v>
                </c:pt>
                <c:pt idx="67">
                  <c:v>317.52123559774407</c:v>
                </c:pt>
                <c:pt idx="68">
                  <c:v>328.49586333618595</c:v>
                </c:pt>
                <c:pt idx="69">
                  <c:v>339.55316571664315</c:v>
                </c:pt>
                <c:pt idx="70">
                  <c:v>350.68187653320962</c:v>
                </c:pt>
                <c:pt idx="71">
                  <c:v>361.87036998631282</c:v>
                </c:pt>
                <c:pt idx="72">
                  <c:v>373.1068224742283</c:v>
                </c:pt>
                <c:pt idx="73">
                  <c:v>384.37927090769421</c:v>
                </c:pt>
                <c:pt idx="74">
                  <c:v>395.67562877684526</c:v>
                </c:pt>
                <c:pt idx="75">
                  <c:v>406.9837094399262</c:v>
                </c:pt>
                <c:pt idx="76">
                  <c:v>418.29129046630936</c:v>
                </c:pt>
                <c:pt idx="77">
                  <c:v>429.58615183720957</c:v>
                </c:pt>
                <c:pt idx="78">
                  <c:v>440.85614212574831</c:v>
                </c:pt>
                <c:pt idx="79">
                  <c:v>452.08923649337527</c:v>
                </c:pt>
                <c:pt idx="80">
                  <c:v>463.27359489329041</c:v>
                </c:pt>
                <c:pt idx="81">
                  <c:v>474.39760594302948</c:v>
                </c:pt>
                <c:pt idx="82">
                  <c:v>485.44991647994118</c:v>
                </c:pt>
                <c:pt idx="83">
                  <c:v>496.41947566333545</c:v>
                </c:pt>
                <c:pt idx="84">
                  <c:v>507.29557208336848</c:v>
                </c:pt>
                <c:pt idx="85">
                  <c:v>518.06786985991948</c:v>
                </c:pt>
                <c:pt idx="86">
                  <c:v>528.72643968303214</c:v>
                </c:pt>
                <c:pt idx="87">
                  <c:v>539.26179328277431</c:v>
                </c:pt>
                <c:pt idx="88">
                  <c:v>549.66491273087149</c:v>
                </c:pt>
                <c:pt idx="89">
                  <c:v>559.92727073461742</c:v>
                </c:pt>
                <c:pt idx="90">
                  <c:v>570.04084541705163</c:v>
                </c:pt>
                <c:pt idx="91">
                  <c:v>579.99813859143671</c:v>
                </c:pt>
                <c:pt idx="92">
                  <c:v>589.79218778349173</c:v>
                </c:pt>
                <c:pt idx="93">
                  <c:v>599.41657563021727</c:v>
                </c:pt>
                <c:pt idx="94">
                  <c:v>608.86543537136106</c:v>
                </c:pt>
                <c:pt idx="95">
                  <c:v>618.133456051618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93.548813967775232</c:v>
                </c:pt>
                <c:pt idx="43">
                  <c:v>100.32226727422733</c:v>
                </c:pt>
                <c:pt idx="44">
                  <c:v>107.31681081133559</c:v>
                </c:pt>
                <c:pt idx="45">
                  <c:v>114.50955139183336</c:v>
                </c:pt>
                <c:pt idx="46">
                  <c:v>122.04475928485445</c:v>
                </c:pt>
                <c:pt idx="47">
                  <c:v>129.86648225255612</c:v>
                </c:pt>
                <c:pt idx="48">
                  <c:v>138.02062994997837</c:v>
                </c:pt>
                <c:pt idx="49">
                  <c:v>146.45534529824147</c:v>
                </c:pt>
                <c:pt idx="50">
                  <c:v>155.1564591043697</c:v>
                </c:pt>
                <c:pt idx="51">
                  <c:v>164.1532648398647</c:v>
                </c:pt>
                <c:pt idx="52">
                  <c:v>173.44960774011</c:v>
                </c:pt>
                <c:pt idx="53">
                  <c:v>183.07779303657205</c:v>
                </c:pt>
                <c:pt idx="54">
                  <c:v>193.00756275972194</c:v>
                </c:pt>
                <c:pt idx="55">
                  <c:v>203.24331146252479</c:v>
                </c:pt>
                <c:pt idx="56">
                  <c:v>213.78223006221549</c:v>
                </c:pt>
                <c:pt idx="57">
                  <c:v>224.62841079072632</c:v>
                </c:pt>
                <c:pt idx="58">
                  <c:v>235.7691032142595</c:v>
                </c:pt>
                <c:pt idx="59">
                  <c:v>247.19678031069449</c:v>
                </c:pt>
                <c:pt idx="60">
                  <c:v>258.90822341009516</c:v>
                </c:pt>
                <c:pt idx="61">
                  <c:v>270.91833730064081</c:v>
                </c:pt>
                <c:pt idx="62">
                  <c:v>283.20852743602245</c:v>
                </c:pt>
                <c:pt idx="63">
                  <c:v>295.76794938470061</c:v>
                </c:pt>
                <c:pt idx="64">
                  <c:v>308.58668158886684</c:v>
                </c:pt>
                <c:pt idx="65">
                  <c:v>321.65378133556754</c:v>
                </c:pt>
                <c:pt idx="66">
                  <c:v>334.95736294894346</c:v>
                </c:pt>
                <c:pt idx="67">
                  <c:v>348.4842667524108</c:v>
                </c:pt>
                <c:pt idx="68">
                  <c:v>362.22014906953308</c:v>
                </c:pt>
                <c:pt idx="69">
                  <c:v>376.14954186796859</c:v>
                </c:pt>
                <c:pt idx="70">
                  <c:v>390.2559337778028</c:v>
                </c:pt>
                <c:pt idx="71">
                  <c:v>404.52183381358583</c:v>
                </c:pt>
                <c:pt idx="72">
                  <c:v>418.92900877432612</c:v>
                </c:pt>
                <c:pt idx="73">
                  <c:v>433.45858418479082</c:v>
                </c:pt>
                <c:pt idx="74">
                  <c:v>448.09109410673</c:v>
                </c:pt>
                <c:pt idx="75">
                  <c:v>462.80654666744636</c:v>
                </c:pt>
                <c:pt idx="76">
                  <c:v>477.58454839430038</c:v>
                </c:pt>
                <c:pt idx="77">
                  <c:v>492.40439658959309</c:v>
                </c:pt>
                <c:pt idx="78">
                  <c:v>507.24521209915105</c:v>
                </c:pt>
                <c:pt idx="79">
                  <c:v>522.08606313609562</c:v>
                </c:pt>
                <c:pt idx="80">
                  <c:v>536.90609149559452</c:v>
                </c:pt>
                <c:pt idx="81">
                  <c:v>551.68462008344056</c:v>
                </c:pt>
                <c:pt idx="82">
                  <c:v>566.40124159346556</c:v>
                </c:pt>
                <c:pt idx="83">
                  <c:v>581.03592621319592</c:v>
                </c:pt>
                <c:pt idx="84">
                  <c:v>595.56911851415578</c:v>
                </c:pt>
                <c:pt idx="85">
                  <c:v>609.98183139843138</c:v>
                </c:pt>
                <c:pt idx="86">
                  <c:v>624.25573079428148</c:v>
                </c:pt>
                <c:pt idx="87">
                  <c:v>638.37322223233059</c:v>
                </c:pt>
                <c:pt idx="88">
                  <c:v>652.31752708421993</c:v>
                </c:pt>
                <c:pt idx="89">
                  <c:v>666.07274320305851</c:v>
                </c:pt>
                <c:pt idx="90">
                  <c:v>679.62389430688506</c:v>
                </c:pt>
                <c:pt idx="91">
                  <c:v>692.95697995657872</c:v>
                </c:pt>
                <c:pt idx="92">
                  <c:v>706.05901291780276</c:v>
                </c:pt>
                <c:pt idx="93">
                  <c:v>718.91804876066783</c:v>
                </c:pt>
                <c:pt idx="94">
                  <c:v>731.52320597454332</c:v>
                </c:pt>
                <c:pt idx="95">
                  <c:v>743.864681612575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5</c:v>
                </c:pt>
                <c:pt idx="1">
                  <c:v>5</c:v>
                </c:pt>
                <c:pt idx="2">
                  <c:v>6</c:v>
                </c:pt>
                <c:pt idx="3">
                  <c:v>5</c:v>
                </c:pt>
                <c:pt idx="4">
                  <c:v>9</c:v>
                </c:pt>
                <c:pt idx="5">
                  <c:v>8</c:v>
                </c:pt>
                <c:pt idx="6">
                  <c:v>6</c:v>
                </c:pt>
                <c:pt idx="7">
                  <c:v>5</c:v>
                </c:pt>
                <c:pt idx="8">
                  <c:v>6</c:v>
                </c:pt>
                <c:pt idx="9">
                  <c:v>6</c:v>
                </c:pt>
                <c:pt idx="10">
                  <c:v>11</c:v>
                </c:pt>
                <c:pt idx="11">
                  <c:v>11</c:v>
                </c:pt>
                <c:pt idx="12">
                  <c:v>10</c:v>
                </c:pt>
                <c:pt idx="13">
                  <c:v>11</c:v>
                </c:pt>
                <c:pt idx="14">
                  <c:v>11</c:v>
                </c:pt>
                <c:pt idx="15">
                  <c:v>14</c:v>
                </c:pt>
                <c:pt idx="16">
                  <c:v>15</c:v>
                </c:pt>
                <c:pt idx="17">
                  <c:v>15</c:v>
                </c:pt>
                <c:pt idx="18">
                  <c:v>15</c:v>
                </c:pt>
                <c:pt idx="19">
                  <c:v>12</c:v>
                </c:pt>
                <c:pt idx="20">
                  <c:v>15</c:v>
                </c:pt>
                <c:pt idx="21">
                  <c:v>13</c:v>
                </c:pt>
                <c:pt idx="22">
                  <c:v>11</c:v>
                </c:pt>
                <c:pt idx="23">
                  <c:v>14</c:v>
                </c:pt>
                <c:pt idx="24">
                  <c:v>13</c:v>
                </c:pt>
                <c:pt idx="25">
                  <c:v>13</c:v>
                </c:pt>
                <c:pt idx="26">
                  <c:v>20</c:v>
                </c:pt>
                <c:pt idx="27">
                  <c:v>21</c:v>
                </c:pt>
                <c:pt idx="28">
                  <c:v>22</c:v>
                </c:pt>
                <c:pt idx="29">
                  <c:v>21</c:v>
                </c:pt>
                <c:pt idx="30">
                  <c:v>22</c:v>
                </c:pt>
                <c:pt idx="31">
                  <c:v>29</c:v>
                </c:pt>
                <c:pt idx="32">
                  <c:v>30</c:v>
                </c:pt>
                <c:pt idx="33">
                  <c:v>30</c:v>
                </c:pt>
                <c:pt idx="34">
                  <c:v>33</c:v>
                </c:pt>
                <c:pt idx="35">
                  <c:v>37</c:v>
                </c:pt>
                <c:pt idx="36">
                  <c:v>38</c:v>
                </c:pt>
                <c:pt idx="37">
                  <c:v>40</c:v>
                </c:pt>
                <c:pt idx="38">
                  <c:v>42</c:v>
                </c:pt>
                <c:pt idx="39">
                  <c:v>38</c:v>
                </c:pt>
                <c:pt idx="40">
                  <c:v>33</c:v>
                </c:pt>
                <c:pt idx="41">
                  <c:v>35</c:v>
                </c:pt>
                <c:pt idx="42">
                  <c:v>40</c:v>
                </c:pt>
                <c:pt idx="43">
                  <c:v>39</c:v>
                </c:pt>
                <c:pt idx="44">
                  <c:v>45</c:v>
                </c:pt>
                <c:pt idx="45">
                  <c:v>40</c:v>
                </c:pt>
                <c:pt idx="46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9.623122712128293</c:v>
                </c:pt>
                <c:pt idx="43">
                  <c:v>41.638790082916941</c:v>
                </c:pt>
                <c:pt idx="44">
                  <c:v>43.596924581772136</c:v>
                </c:pt>
                <c:pt idx="45">
                  <c:v>45.435160693384134</c:v>
                </c:pt>
                <c:pt idx="46">
                  <c:v>47.245565962902191</c:v>
                </c:pt>
                <c:pt idx="47">
                  <c:v>49.059993055044806</c:v>
                </c:pt>
                <c:pt idx="48">
                  <c:v>50.851443440416048</c:v>
                </c:pt>
                <c:pt idx="49">
                  <c:v>52.579835919524413</c:v>
                </c:pt>
                <c:pt idx="50">
                  <c:v>54.128761878741194</c:v>
                </c:pt>
                <c:pt idx="51">
                  <c:v>55.658404439658192</c:v>
                </c:pt>
                <c:pt idx="52">
                  <c:v>57.152071183714547</c:v>
                </c:pt>
                <c:pt idx="53">
                  <c:v>58.631637007382373</c:v>
                </c:pt>
                <c:pt idx="54">
                  <c:v>59.965826865859242</c:v>
                </c:pt>
                <c:pt idx="55">
                  <c:v>61.244749678832768</c:v>
                </c:pt>
                <c:pt idx="56">
                  <c:v>62.514946614783668</c:v>
                </c:pt>
                <c:pt idx="57">
                  <c:v>63.707399596056788</c:v>
                </c:pt>
                <c:pt idx="58">
                  <c:v>64.826590393914984</c:v>
                </c:pt>
                <c:pt idx="59">
                  <c:v>65.880042808448735</c:v>
                </c:pt>
                <c:pt idx="60">
                  <c:v>66.915644257312621</c:v>
                </c:pt>
                <c:pt idx="61">
                  <c:v>67.862546580439073</c:v>
                </c:pt>
                <c:pt idx="62">
                  <c:v>68.734401402809056</c:v>
                </c:pt>
                <c:pt idx="63">
                  <c:v>69.54541083647284</c:v>
                </c:pt>
                <c:pt idx="64">
                  <c:v>70.319849445310183</c:v>
                </c:pt>
                <c:pt idx="65">
                  <c:v>71.013157229808243</c:v>
                </c:pt>
                <c:pt idx="66">
                  <c:v>71.633606717998433</c:v>
                </c:pt>
                <c:pt idx="67">
                  <c:v>72.19586465669758</c:v>
                </c:pt>
                <c:pt idx="68">
                  <c:v>72.700690295375949</c:v>
                </c:pt>
                <c:pt idx="69">
                  <c:v>73.142428524147036</c:v>
                </c:pt>
                <c:pt idx="70">
                  <c:v>73.518075640399331</c:v>
                </c:pt>
                <c:pt idx="71">
                  <c:v>73.842776050115702</c:v>
                </c:pt>
                <c:pt idx="72">
                  <c:v>74.102117506856359</c:v>
                </c:pt>
                <c:pt idx="73">
                  <c:v>74.295435978143246</c:v>
                </c:pt>
                <c:pt idx="74">
                  <c:v>74.415912952759314</c:v>
                </c:pt>
                <c:pt idx="75">
                  <c:v>74.474354727135562</c:v>
                </c:pt>
                <c:pt idx="76">
                  <c:v>74.470578555662399</c:v>
                </c:pt>
                <c:pt idx="77">
                  <c:v>74.404792283627884</c:v>
                </c:pt>
                <c:pt idx="78">
                  <c:v>74.274869497800481</c:v>
                </c:pt>
                <c:pt idx="79">
                  <c:v>74.079593407672647</c:v>
                </c:pt>
                <c:pt idx="80">
                  <c:v>73.821811022979404</c:v>
                </c:pt>
                <c:pt idx="81">
                  <c:v>73.503333605038719</c:v>
                </c:pt>
                <c:pt idx="82">
                  <c:v>73.12486407748996</c:v>
                </c:pt>
                <c:pt idx="83">
                  <c:v>72.686574884234844</c:v>
                </c:pt>
                <c:pt idx="84">
                  <c:v>72.190325034547158</c:v>
                </c:pt>
                <c:pt idx="85">
                  <c:v>71.63789464284045</c:v>
                </c:pt>
                <c:pt idx="86">
                  <c:v>71.031138680770852</c:v>
                </c:pt>
                <c:pt idx="87">
                  <c:v>70.371584648640635</c:v>
                </c:pt>
                <c:pt idx="88">
                  <c:v>69.661320993907381</c:v>
                </c:pt>
                <c:pt idx="89">
                  <c:v>68.902275414234339</c:v>
                </c:pt>
                <c:pt idx="90">
                  <c:v>68.096323682925103</c:v>
                </c:pt>
                <c:pt idx="91">
                  <c:v>67.245665094364384</c:v>
                </c:pt>
                <c:pt idx="92">
                  <c:v>66.352730680268465</c:v>
                </c:pt>
                <c:pt idx="93">
                  <c:v>65.419892064619859</c:v>
                </c:pt>
                <c:pt idx="94">
                  <c:v>64.449506043120493</c:v>
                </c:pt>
                <c:pt idx="95">
                  <c:v>63.4440151262557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9.698644825412302</c:v>
                </c:pt>
                <c:pt idx="43">
                  <c:v>41.820087868099279</c:v>
                </c:pt>
                <c:pt idx="44">
                  <c:v>43.918319930575578</c:v>
                </c:pt>
                <c:pt idx="45">
                  <c:v>45.934430574080231</c:v>
                </c:pt>
                <c:pt idx="46">
                  <c:v>47.962654201756564</c:v>
                </c:pt>
                <c:pt idx="47">
                  <c:v>50.038211006614837</c:v>
                </c:pt>
                <c:pt idx="48">
                  <c:v>52.134982237079782</c:v>
                </c:pt>
                <c:pt idx="49">
                  <c:v>54.214609751470789</c:v>
                </c:pt>
                <c:pt idx="50">
                  <c:v>56.160661081359521</c:v>
                </c:pt>
                <c:pt idx="51">
                  <c:v>58.134126772442798</c:v>
                </c:pt>
                <c:pt idx="52">
                  <c:v>60.117884224516644</c:v>
                </c:pt>
                <c:pt idx="53">
                  <c:v>62.132636963417816</c:v>
                </c:pt>
                <c:pt idx="54">
                  <c:v>64.045911890167389</c:v>
                </c:pt>
                <c:pt idx="55">
                  <c:v>65.946041668375415</c:v>
                </c:pt>
                <c:pt idx="56">
                  <c:v>67.877839832431988</c:v>
                </c:pt>
                <c:pt idx="57">
                  <c:v>69.769645914789621</c:v>
                </c:pt>
                <c:pt idx="58">
                  <c:v>71.623270556697008</c:v>
                </c:pt>
                <c:pt idx="59">
                  <c:v>73.442038841325754</c:v>
                </c:pt>
                <c:pt idx="60">
                  <c:v>75.27142994638433</c:v>
                </c:pt>
                <c:pt idx="61">
                  <c:v>77.035967297288664</c:v>
                </c:pt>
                <c:pt idx="62">
                  <c:v>78.746045225043616</c:v>
                </c:pt>
                <c:pt idx="63">
                  <c:v>80.412536821168629</c:v>
                </c:pt>
                <c:pt idx="64">
                  <c:v>82.055894354374544</c:v>
                </c:pt>
                <c:pt idx="65">
                  <c:v>83.627286873833299</c:v>
                </c:pt>
                <c:pt idx="66">
                  <c:v>85.131275911762515</c:v>
                </c:pt>
                <c:pt idx="67">
                  <c:v>86.579102445047113</c:v>
                </c:pt>
                <c:pt idx="68">
                  <c:v>87.967716524769145</c:v>
                </c:pt>
                <c:pt idx="69">
                  <c:v>89.287682797678599</c:v>
                </c:pt>
                <c:pt idx="70">
                  <c:v>90.532052310426693</c:v>
                </c:pt>
                <c:pt idx="71">
                  <c:v>91.712228025087029</c:v>
                </c:pt>
                <c:pt idx="72">
                  <c:v>92.809842293173972</c:v>
                </c:pt>
                <c:pt idx="73">
                  <c:v>93.820753177389136</c:v>
                </c:pt>
                <c:pt idx="74">
                  <c:v>94.734660691954787</c:v>
                </c:pt>
                <c:pt idx="75">
                  <c:v>95.559316506525832</c:v>
                </c:pt>
                <c:pt idx="76">
                  <c:v>96.291463286452085</c:v>
                </c:pt>
                <c:pt idx="77">
                  <c:v>96.928413752179353</c:v>
                </c:pt>
                <c:pt idx="78">
                  <c:v>97.46514526588922</c:v>
                </c:pt>
                <c:pt idx="79">
                  <c:v>97.897870036395545</c:v>
                </c:pt>
                <c:pt idx="80">
                  <c:v>98.227284013026349</c:v>
                </c:pt>
                <c:pt idx="81">
                  <c:v>98.453165816727534</c:v>
                </c:pt>
                <c:pt idx="82">
                  <c:v>98.57443541268492</c:v>
                </c:pt>
                <c:pt idx="83">
                  <c:v>98.589737564390418</c:v>
                </c:pt>
                <c:pt idx="84">
                  <c:v>98.49965923521961</c:v>
                </c:pt>
                <c:pt idx="85">
                  <c:v>98.304972556553764</c:v>
                </c:pt>
                <c:pt idx="86">
                  <c:v>98.006788101531754</c:v>
                </c:pt>
                <c:pt idx="87">
                  <c:v>97.606153554600354</c:v>
                </c:pt>
                <c:pt idx="88">
                  <c:v>97.104937042979159</c:v>
                </c:pt>
                <c:pt idx="89">
                  <c:v>96.50509921363043</c:v>
                </c:pt>
                <c:pt idx="90">
                  <c:v>95.80879284838781</c:v>
                </c:pt>
                <c:pt idx="91">
                  <c:v>95.018729524478289</c:v>
                </c:pt>
                <c:pt idx="92">
                  <c:v>94.138079096201395</c:v>
                </c:pt>
                <c:pt idx="93">
                  <c:v>93.170166825211012</c:v>
                </c:pt>
                <c:pt idx="94">
                  <c:v>92.118503668382914</c:v>
                </c:pt>
                <c:pt idx="95">
                  <c:v>90.9868674490342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9.774595818734994</c:v>
                </c:pt>
                <c:pt idx="43">
                  <c:v>42.002943979335768</c:v>
                </c:pt>
                <c:pt idx="44">
                  <c:v>44.243597871514666</c:v>
                </c:pt>
                <c:pt idx="45">
                  <c:v>46.441712261459656</c:v>
                </c:pt>
                <c:pt idx="46">
                  <c:v>48.694396308151852</c:v>
                </c:pt>
                <c:pt idx="47">
                  <c:v>51.041036827695635</c:v>
                </c:pt>
                <c:pt idx="48">
                  <c:v>53.457257890912125</c:v>
                </c:pt>
                <c:pt idx="49">
                  <c:v>55.907345898086099</c:v>
                </c:pt>
                <c:pt idx="50">
                  <c:v>58.275796536355685</c:v>
                </c:pt>
                <c:pt idx="51">
                  <c:v>60.725381259359011</c:v>
                </c:pt>
                <c:pt idx="52">
                  <c:v>63.239514604660314</c:v>
                </c:pt>
                <c:pt idx="53">
                  <c:v>65.838662104881436</c:v>
                </c:pt>
                <c:pt idx="54">
                  <c:v>68.390030216546947</c:v>
                </c:pt>
                <c:pt idx="55">
                  <c:v>70.980973631371754</c:v>
                </c:pt>
                <c:pt idx="56">
                  <c:v>73.655286196763157</c:v>
                </c:pt>
                <c:pt idx="57">
                  <c:v>76.339253925500998</c:v>
                </c:pt>
                <c:pt idx="58">
                  <c:v>79.03247429957915</c:v>
                </c:pt>
                <c:pt idx="59">
                  <c:v>81.734376585157037</c:v>
                </c:pt>
                <c:pt idx="60">
                  <c:v>84.488167173479724</c:v>
                </c:pt>
                <c:pt idx="61">
                  <c:v>87.213683632997444</c:v>
                </c:pt>
                <c:pt idx="62">
                  <c:v>89.917809405958138</c:v>
                </c:pt>
                <c:pt idx="63">
                  <c:v>92.607633220551236</c:v>
                </c:pt>
                <c:pt idx="64">
                  <c:v>95.299124476799847</c:v>
                </c:pt>
                <c:pt idx="65">
                  <c:v>97.938328010841957</c:v>
                </c:pt>
                <c:pt idx="66">
                  <c:v>100.52505569779913</c:v>
                </c:pt>
                <c:pt idx="67">
                  <c:v>103.0658910729135</c:v>
                </c:pt>
                <c:pt idx="68">
                  <c:v>105.55256233405774</c:v>
                </c:pt>
                <c:pt idx="69">
                  <c:v>107.97027552117115</c:v>
                </c:pt>
                <c:pt idx="70">
                  <c:v>110.30640960095525</c:v>
                </c:pt>
                <c:pt idx="71">
                  <c:v>112.56677109873199</c:v>
                </c:pt>
                <c:pt idx="72">
                  <c:v>114.72708068178133</c:v>
                </c:pt>
                <c:pt idx="73">
                  <c:v>116.7776868780397</c:v>
                </c:pt>
                <c:pt idx="74">
                  <c:v>118.70272345812216</c:v>
                </c:pt>
                <c:pt idx="75">
                  <c:v>120.50477693895886</c:v>
                </c:pt>
                <c:pt idx="76">
                  <c:v>122.17540664905873</c:v>
                </c:pt>
                <c:pt idx="77">
                  <c:v>123.70695124648844</c:v>
                </c:pt>
                <c:pt idx="78">
                  <c:v>125.08947048051175</c:v>
                </c:pt>
                <c:pt idx="79">
                  <c:v>126.31466994662665</c:v>
                </c:pt>
                <c:pt idx="80">
                  <c:v>127.37927170881423</c:v>
                </c:pt>
                <c:pt idx="81">
                  <c:v>128.27933503645329</c:v>
                </c:pt>
                <c:pt idx="82">
                  <c:v>129.01046794616872</c:v>
                </c:pt>
                <c:pt idx="83">
                  <c:v>129.56843620807715</c:v>
                </c:pt>
                <c:pt idx="84">
                  <c:v>129.95139803231467</c:v>
                </c:pt>
                <c:pt idx="85">
                  <c:v>130.15816925886156</c:v>
                </c:pt>
                <c:pt idx="86">
                  <c:v>130.1883870370192</c:v>
                </c:pt>
                <c:pt idx="87">
                  <c:v>130.04211720802181</c:v>
                </c:pt>
                <c:pt idx="88">
                  <c:v>129.72073660695969</c:v>
                </c:pt>
                <c:pt idx="89">
                  <c:v>129.22619932011966</c:v>
                </c:pt>
                <c:pt idx="90">
                  <c:v>128.56112438474008</c:v>
                </c:pt>
                <c:pt idx="91">
                  <c:v>127.72914803342562</c:v>
                </c:pt>
                <c:pt idx="92">
                  <c:v>126.73480561976271</c:v>
                </c:pt>
                <c:pt idx="93">
                  <c:v>125.58320554739691</c:v>
                </c:pt>
                <c:pt idx="94">
                  <c:v>124.28003132749254</c:v>
                </c:pt>
                <c:pt idx="95">
                  <c:v>122.831592138043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16</c:v>
                </c:pt>
                <c:pt idx="1">
                  <c:v>17</c:v>
                </c:pt>
                <c:pt idx="2">
                  <c:v>17</c:v>
                </c:pt>
                <c:pt idx="3">
                  <c:v>18</c:v>
                </c:pt>
                <c:pt idx="4">
                  <c:v>19</c:v>
                </c:pt>
                <c:pt idx="5">
                  <c:v>22</c:v>
                </c:pt>
                <c:pt idx="6">
                  <c:v>23</c:v>
                </c:pt>
                <c:pt idx="7">
                  <c:v>25</c:v>
                </c:pt>
                <c:pt idx="8">
                  <c:v>26</c:v>
                </c:pt>
                <c:pt idx="9">
                  <c:v>28</c:v>
                </c:pt>
                <c:pt idx="10">
                  <c:v>31</c:v>
                </c:pt>
                <c:pt idx="11">
                  <c:v>33</c:v>
                </c:pt>
                <c:pt idx="12">
                  <c:v>35</c:v>
                </c:pt>
                <c:pt idx="13">
                  <c:v>38</c:v>
                </c:pt>
                <c:pt idx="14">
                  <c:v>39</c:v>
                </c:pt>
                <c:pt idx="15">
                  <c:v>39</c:v>
                </c:pt>
                <c:pt idx="16">
                  <c:v>40</c:v>
                </c:pt>
                <c:pt idx="17">
                  <c:v>45</c:v>
                </c:pt>
                <c:pt idx="18">
                  <c:v>48</c:v>
                </c:pt>
                <c:pt idx="19">
                  <c:v>49</c:v>
                </c:pt>
                <c:pt idx="20">
                  <c:v>52</c:v>
                </c:pt>
                <c:pt idx="21">
                  <c:v>56</c:v>
                </c:pt>
                <c:pt idx="22">
                  <c:v>59</c:v>
                </c:pt>
                <c:pt idx="23">
                  <c:v>61</c:v>
                </c:pt>
                <c:pt idx="24">
                  <c:v>64</c:v>
                </c:pt>
                <c:pt idx="25">
                  <c:v>67</c:v>
                </c:pt>
                <c:pt idx="26">
                  <c:v>73</c:v>
                </c:pt>
                <c:pt idx="27">
                  <c:v>76</c:v>
                </c:pt>
                <c:pt idx="28">
                  <c:v>82</c:v>
                </c:pt>
                <c:pt idx="29">
                  <c:v>88</c:v>
                </c:pt>
                <c:pt idx="30">
                  <c:v>94</c:v>
                </c:pt>
                <c:pt idx="31">
                  <c:v>103</c:v>
                </c:pt>
                <c:pt idx="32">
                  <c:v>110</c:v>
                </c:pt>
                <c:pt idx="33">
                  <c:v>118</c:v>
                </c:pt>
                <c:pt idx="34">
                  <c:v>122</c:v>
                </c:pt>
                <c:pt idx="35">
                  <c:v>134</c:v>
                </c:pt>
                <c:pt idx="36">
                  <c:v>137</c:v>
                </c:pt>
                <c:pt idx="37">
                  <c:v>145</c:v>
                </c:pt>
                <c:pt idx="38">
                  <c:v>154</c:v>
                </c:pt>
                <c:pt idx="39">
                  <c:v>163</c:v>
                </c:pt>
                <c:pt idx="40">
                  <c:v>166</c:v>
                </c:pt>
                <c:pt idx="41">
                  <c:v>174</c:v>
                </c:pt>
                <c:pt idx="42">
                  <c:v>182</c:v>
                </c:pt>
                <c:pt idx="43">
                  <c:v>193</c:v>
                </c:pt>
                <c:pt idx="44">
                  <c:v>201</c:v>
                </c:pt>
                <c:pt idx="45">
                  <c:v>210</c:v>
                </c:pt>
                <c:pt idx="46">
                  <c:v>2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81.53905910604814</c:v>
                </c:pt>
                <c:pt idx="43">
                  <c:v>191.32738393680663</c:v>
                </c:pt>
                <c:pt idx="44">
                  <c:v>201.32953210324183</c:v>
                </c:pt>
                <c:pt idx="45">
                  <c:v>211.48658790541342</c:v>
                </c:pt>
                <c:pt idx="46">
                  <c:v>222.01149618882727</c:v>
                </c:pt>
                <c:pt idx="47">
                  <c:v>232.78429977892341</c:v>
                </c:pt>
                <c:pt idx="48">
                  <c:v>243.82270266206029</c:v>
                </c:pt>
                <c:pt idx="49">
                  <c:v>255.04962228427178</c:v>
                </c:pt>
                <c:pt idx="50">
                  <c:v>266.44238906362006</c:v>
                </c:pt>
                <c:pt idx="51">
                  <c:v>278.00263656189168</c:v>
                </c:pt>
                <c:pt idx="52">
                  <c:v>289.70239043351239</c:v>
                </c:pt>
                <c:pt idx="53">
                  <c:v>301.61188080323336</c:v>
                </c:pt>
                <c:pt idx="54">
                  <c:v>313.68068332825374</c:v>
                </c:pt>
                <c:pt idx="55">
                  <c:v>325.88666433568096</c:v>
                </c:pt>
                <c:pt idx="56">
                  <c:v>338.21003873872598</c:v>
                </c:pt>
                <c:pt idx="57">
                  <c:v>350.64685734461523</c:v>
                </c:pt>
                <c:pt idx="58">
                  <c:v>363.1813075653543</c:v>
                </c:pt>
                <c:pt idx="59">
                  <c:v>375.79020608465089</c:v>
                </c:pt>
                <c:pt idx="60">
                  <c:v>388.46724647974986</c:v>
                </c:pt>
                <c:pt idx="61">
                  <c:v>401.24629792762312</c:v>
                </c:pt>
                <c:pt idx="62">
                  <c:v>414.0933022330243</c:v>
                </c:pt>
                <c:pt idx="63">
                  <c:v>426.9931242941002</c:v>
                </c:pt>
                <c:pt idx="64">
                  <c:v>439.93519872839681</c:v>
                </c:pt>
                <c:pt idx="65">
                  <c:v>452.90899218085821</c:v>
                </c:pt>
                <c:pt idx="66">
                  <c:v>465.90406950435755</c:v>
                </c:pt>
                <c:pt idx="67">
                  <c:v>478.90980739858765</c:v>
                </c:pt>
                <c:pt idx="68">
                  <c:v>491.9154682575417</c:v>
                </c:pt>
                <c:pt idx="69">
                  <c:v>504.91023163891526</c:v>
                </c:pt>
                <c:pt idx="70">
                  <c:v>517.88323545535445</c:v>
                </c:pt>
                <c:pt idx="71">
                  <c:v>530.82359727511812</c:v>
                </c:pt>
                <c:pt idx="72">
                  <c:v>543.72058094747808</c:v>
                </c:pt>
                <c:pt idx="73">
                  <c:v>556.5636430079627</c:v>
                </c:pt>
                <c:pt idx="74">
                  <c:v>569.34242989846416</c:v>
                </c:pt>
                <c:pt idx="75">
                  <c:v>582.04677379463828</c:v>
                </c:pt>
                <c:pt idx="76">
                  <c:v>594.66674110972986</c:v>
                </c:pt>
                <c:pt idx="77">
                  <c:v>607.19264647466025</c:v>
                </c:pt>
                <c:pt idx="78">
                  <c:v>619.61509293029712</c:v>
                </c:pt>
                <c:pt idx="79">
                  <c:v>631.92500371952372</c:v>
                </c:pt>
                <c:pt idx="80">
                  <c:v>644.11365957148928</c:v>
                </c:pt>
                <c:pt idx="81">
                  <c:v>656.17271869877572</c:v>
                </c:pt>
                <c:pt idx="82">
                  <c:v>668.09421261563648</c:v>
                </c:pt>
                <c:pt idx="83">
                  <c:v>679.8705642761073</c:v>
                </c:pt>
                <c:pt idx="84">
                  <c:v>691.49460059541047</c:v>
                </c:pt>
                <c:pt idx="85">
                  <c:v>702.95956390686683</c:v>
                </c:pt>
                <c:pt idx="86">
                  <c:v>714.25911799327275</c:v>
                </c:pt>
                <c:pt idx="87">
                  <c:v>725.38736125458433</c:v>
                </c:pt>
                <c:pt idx="88">
                  <c:v>736.33883660707772</c:v>
                </c:pt>
                <c:pt idx="89">
                  <c:v>747.10852991338129</c:v>
                </c:pt>
                <c:pt idx="90">
                  <c:v>757.6918633411824</c:v>
                </c:pt>
                <c:pt idx="91">
                  <c:v>768.08469739953716</c:v>
                </c:pt>
                <c:pt idx="92">
                  <c:v>778.28332744374677</c:v>
                </c:pt>
                <c:pt idx="93">
                  <c:v>788.28447955277363</c:v>
                </c:pt>
                <c:pt idx="94">
                  <c:v>798.08530383058485</c:v>
                </c:pt>
                <c:pt idx="95">
                  <c:v>807.683384527841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81.67808868536935</c:v>
                </c:pt>
                <c:pt idx="43">
                  <c:v>191.66954986369387</c:v>
                </c:pt>
                <c:pt idx="44">
                  <c:v>201.94933159601794</c:v>
                </c:pt>
                <c:pt idx="45">
                  <c:v>212.46869955740965</c:v>
                </c:pt>
                <c:pt idx="46">
                  <c:v>223.45022824556125</c:v>
                </c:pt>
                <c:pt idx="47">
                  <c:v>234.78377134211911</c:v>
                </c:pt>
                <c:pt idx="48">
                  <c:v>246.49567000985294</c:v>
                </c:pt>
                <c:pt idx="49">
                  <c:v>258.51681575684563</c:v>
                </c:pt>
                <c:pt idx="50">
                  <c:v>270.83170398739446</c:v>
                </c:pt>
                <c:pt idx="51">
                  <c:v>283.44807350368791</c:v>
                </c:pt>
                <c:pt idx="52">
                  <c:v>296.34333251259864</c:v>
                </c:pt>
                <c:pt idx="53">
                  <c:v>309.59213556093977</c:v>
                </c:pt>
                <c:pt idx="54">
                  <c:v>323.14845625335215</c:v>
                </c:pt>
                <c:pt idx="55">
                  <c:v>336.99339934209274</c:v>
                </c:pt>
                <c:pt idx="56">
                  <c:v>351.10951789546232</c:v>
                </c:pt>
                <c:pt idx="57">
                  <c:v>365.49442910168858</c:v>
                </c:pt>
                <c:pt idx="58">
                  <c:v>380.13326372684742</c:v>
                </c:pt>
                <c:pt idx="59">
                  <c:v>395.00311803993452</c:v>
                </c:pt>
                <c:pt idx="60">
                  <c:v>410.09726850210802</c:v>
                </c:pt>
                <c:pt idx="61">
                  <c:v>425.44848721234257</c:v>
                </c:pt>
                <c:pt idx="62">
                  <c:v>441.0212487214614</c:v>
                </c:pt>
                <c:pt idx="63">
                  <c:v>456.79812473002812</c:v>
                </c:pt>
                <c:pt idx="64">
                  <c:v>472.76550411165158</c:v>
                </c:pt>
                <c:pt idx="65">
                  <c:v>488.9092211107926</c:v>
                </c:pt>
                <c:pt idx="66">
                  <c:v>505.21466901770583</c:v>
                </c:pt>
                <c:pt idx="67">
                  <c:v>521.66642603170862</c:v>
                </c:pt>
                <c:pt idx="68">
                  <c:v>538.24837734205153</c:v>
                </c:pt>
                <c:pt idx="69">
                  <c:v>554.94377361395232</c:v>
                </c:pt>
                <c:pt idx="70">
                  <c:v>571.73530771566948</c:v>
                </c:pt>
                <c:pt idx="71">
                  <c:v>588.60516272030884</c:v>
                </c:pt>
                <c:pt idx="72">
                  <c:v>605.53527303582734</c:v>
                </c:pt>
                <c:pt idx="73">
                  <c:v>622.50741576966811</c:v>
                </c:pt>
                <c:pt idx="74">
                  <c:v>639.50323736056339</c:v>
                </c:pt>
                <c:pt idx="75">
                  <c:v>656.50428355260487</c:v>
                </c:pt>
                <c:pt idx="76">
                  <c:v>673.49210352419595</c:v>
                </c:pt>
                <c:pt idx="77">
                  <c:v>690.44830704804815</c:v>
                </c:pt>
                <c:pt idx="78">
                  <c:v>707.35465910508265</c:v>
                </c:pt>
                <c:pt idx="79">
                  <c:v>724.19316348981067</c:v>
                </c:pt>
                <c:pt idx="80">
                  <c:v>740.94615523979473</c:v>
                </c:pt>
                <c:pt idx="81">
                  <c:v>757.59636823710878</c:v>
                </c:pt>
                <c:pt idx="82">
                  <c:v>774.12696940461296</c:v>
                </c:pt>
                <c:pt idx="83">
                  <c:v>790.52162311635107</c:v>
                </c:pt>
                <c:pt idx="84">
                  <c:v>806.7645459584536</c:v>
                </c:pt>
                <c:pt idx="85">
                  <c:v>822.84055879324728</c:v>
                </c:pt>
                <c:pt idx="86">
                  <c:v>838.73512918338213</c:v>
                </c:pt>
                <c:pt idx="87">
                  <c:v>854.43442205653378</c:v>
                </c:pt>
                <c:pt idx="88">
                  <c:v>869.92534316878027</c:v>
                </c:pt>
                <c:pt idx="89">
                  <c:v>885.19556438649022</c:v>
                </c:pt>
                <c:pt idx="90">
                  <c:v>900.23353940251741</c:v>
                </c:pt>
                <c:pt idx="91">
                  <c:v>915.02852873860877</c:v>
                </c:pt>
                <c:pt idx="92">
                  <c:v>929.57061427937958</c:v>
                </c:pt>
                <c:pt idx="93">
                  <c:v>943.85071014928258</c:v>
                </c:pt>
                <c:pt idx="94">
                  <c:v>957.86056722007925</c:v>
                </c:pt>
                <c:pt idx="95">
                  <c:v>971.592778787136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81.81790598182178</c:v>
                </c:pt>
                <c:pt idx="43">
                  <c:v>192.01463051035731</c:v>
                </c:pt>
                <c:pt idx="44">
                  <c:v>202.57650006731828</c:v>
                </c:pt>
                <c:pt idx="45">
                  <c:v>213.46621599061237</c:v>
                </c:pt>
                <c:pt idx="46">
                  <c:v>224.91748447226968</c:v>
                </c:pt>
                <c:pt idx="47">
                  <c:v>236.83170499660224</c:v>
                </c:pt>
                <c:pt idx="48">
                  <c:v>249.24580359417178</c:v>
                </c:pt>
                <c:pt idx="49">
                  <c:v>262.10079164149334</c:v>
                </c:pt>
                <c:pt idx="50">
                  <c:v>275.39064110675326</c:v>
                </c:pt>
                <c:pt idx="51">
                  <c:v>289.13164499822182</c:v>
                </c:pt>
                <c:pt idx="52">
                  <c:v>303.30914492435249</c:v>
                </c:pt>
                <c:pt idx="53">
                  <c:v>318.00482470054163</c:v>
                </c:pt>
                <c:pt idx="54">
                  <c:v>333.17967265693466</c:v>
                </c:pt>
                <c:pt idx="55">
                  <c:v>348.82061205829166</c:v>
                </c:pt>
                <c:pt idx="56">
                  <c:v>364.91505191097002</c:v>
                </c:pt>
                <c:pt idx="57">
                  <c:v>381.46457567608178</c:v>
                </c:pt>
                <c:pt idx="58">
                  <c:v>398.45750606520357</c:v>
                </c:pt>
                <c:pt idx="59">
                  <c:v>415.87327304538951</c:v>
                </c:pt>
                <c:pt idx="60">
                  <c:v>433.70653985174897</c:v>
                </c:pt>
                <c:pt idx="61">
                  <c:v>451.99049723263931</c:v>
                </c:pt>
                <c:pt idx="62">
                  <c:v>470.68934064653325</c:v>
                </c:pt>
                <c:pt idx="63">
                  <c:v>489.78418079307767</c:v>
                </c:pt>
                <c:pt idx="64">
                  <c:v>509.25880931969976</c:v>
                </c:pt>
                <c:pt idx="65">
                  <c:v>529.09549672316041</c:v>
                </c:pt>
                <c:pt idx="66">
                  <c:v>549.27513829299755</c:v>
                </c:pt>
                <c:pt idx="67">
                  <c:v>569.77675331149567</c:v>
                </c:pt>
                <c:pt idx="68">
                  <c:v>590.57765438953265</c:v>
                </c:pt>
                <c:pt idx="69">
                  <c:v>611.65353220346924</c:v>
                </c:pt>
                <c:pt idx="70">
                  <c:v>632.97857493854031</c:v>
                </c:pt>
                <c:pt idx="71">
                  <c:v>654.5255535486906</c:v>
                </c:pt>
                <c:pt idx="72">
                  <c:v>676.26620889586388</c:v>
                </c:pt>
                <c:pt idx="73">
                  <c:v>698.17141322240695</c:v>
                </c:pt>
                <c:pt idx="74">
                  <c:v>720.21125290273255</c:v>
                </c:pt>
                <c:pt idx="75">
                  <c:v>742.35512494414627</c:v>
                </c:pt>
                <c:pt idx="76">
                  <c:v>764.57193793712656</c:v>
                </c:pt>
                <c:pt idx="77">
                  <c:v>786.83025401177758</c:v>
                </c:pt>
                <c:pt idx="78">
                  <c:v>809.09848487948375</c:v>
                </c:pt>
                <c:pt idx="79">
                  <c:v>831.34507552149978</c:v>
                </c:pt>
                <c:pt idx="80">
                  <c:v>853.53870245116082</c:v>
                </c:pt>
                <c:pt idx="81">
                  <c:v>875.64843846374822</c:v>
                </c:pt>
                <c:pt idx="82">
                  <c:v>897.64387269500617</c:v>
                </c:pt>
                <c:pt idx="83">
                  <c:v>919.49526987519346</c:v>
                </c:pt>
                <c:pt idx="84">
                  <c:v>941.17371355887497</c:v>
                </c:pt>
                <c:pt idx="85">
                  <c:v>962.65124272264472</c:v>
                </c:pt>
                <c:pt idx="86">
                  <c:v>983.90097106204894</c:v>
                </c:pt>
                <c:pt idx="87">
                  <c:v>1004.8972128761707</c:v>
                </c:pt>
                <c:pt idx="88">
                  <c:v>1025.6155936060936</c:v>
                </c:pt>
                <c:pt idx="89">
                  <c:v>1046.0331303330684</c:v>
                </c:pt>
                <c:pt idx="90">
                  <c:v>1066.1282933171028</c:v>
                </c:pt>
                <c:pt idx="91">
                  <c:v>1085.8810735716629</c:v>
                </c:pt>
                <c:pt idx="92">
                  <c:v>1105.2730298505555</c:v>
                </c:pt>
                <c:pt idx="93">
                  <c:v>1124.2873242585852</c:v>
                </c:pt>
                <c:pt idx="94">
                  <c:v>1142.9087429121055</c:v>
                </c:pt>
                <c:pt idx="95">
                  <c:v>1161.12371211160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6</c:v>
                </c:pt>
                <c:pt idx="7">
                  <c:v>6</c:v>
                </c:pt>
                <c:pt idx="8">
                  <c:v>3</c:v>
                </c:pt>
                <c:pt idx="9">
                  <c:v>4</c:v>
                </c:pt>
                <c:pt idx="10">
                  <c:v>7</c:v>
                </c:pt>
                <c:pt idx="11">
                  <c:v>8</c:v>
                </c:pt>
                <c:pt idx="12">
                  <c:v>7</c:v>
                </c:pt>
                <c:pt idx="13">
                  <c:v>7</c:v>
                </c:pt>
                <c:pt idx="14">
                  <c:v>8</c:v>
                </c:pt>
                <c:pt idx="15">
                  <c:v>10</c:v>
                </c:pt>
                <c:pt idx="16">
                  <c:v>11</c:v>
                </c:pt>
                <c:pt idx="17">
                  <c:v>11</c:v>
                </c:pt>
                <c:pt idx="18">
                  <c:v>11</c:v>
                </c:pt>
                <c:pt idx="19">
                  <c:v>14</c:v>
                </c:pt>
                <c:pt idx="20">
                  <c:v>15</c:v>
                </c:pt>
                <c:pt idx="21">
                  <c:v>18</c:v>
                </c:pt>
                <c:pt idx="22">
                  <c:v>19</c:v>
                </c:pt>
                <c:pt idx="23">
                  <c:v>19</c:v>
                </c:pt>
                <c:pt idx="24">
                  <c:v>19</c:v>
                </c:pt>
                <c:pt idx="25">
                  <c:v>19</c:v>
                </c:pt>
                <c:pt idx="26">
                  <c:v>17</c:v>
                </c:pt>
                <c:pt idx="27">
                  <c:v>15</c:v>
                </c:pt>
                <c:pt idx="28">
                  <c:v>14</c:v>
                </c:pt>
                <c:pt idx="29">
                  <c:v>6</c:v>
                </c:pt>
                <c:pt idx="30">
                  <c:v>14</c:v>
                </c:pt>
                <c:pt idx="31">
                  <c:v>18</c:v>
                </c:pt>
                <c:pt idx="32">
                  <c:v>17</c:v>
                </c:pt>
                <c:pt idx="33">
                  <c:v>17</c:v>
                </c:pt>
                <c:pt idx="34">
                  <c:v>15</c:v>
                </c:pt>
                <c:pt idx="35">
                  <c:v>21</c:v>
                </c:pt>
                <c:pt idx="36">
                  <c:v>19</c:v>
                </c:pt>
                <c:pt idx="37">
                  <c:v>23</c:v>
                </c:pt>
                <c:pt idx="38">
                  <c:v>26</c:v>
                </c:pt>
                <c:pt idx="39">
                  <c:v>30</c:v>
                </c:pt>
                <c:pt idx="40">
                  <c:v>35</c:v>
                </c:pt>
                <c:pt idx="41">
                  <c:v>34</c:v>
                </c:pt>
                <c:pt idx="42">
                  <c:v>34</c:v>
                </c:pt>
                <c:pt idx="43">
                  <c:v>36</c:v>
                </c:pt>
                <c:pt idx="44">
                  <c:v>42</c:v>
                </c:pt>
                <c:pt idx="45">
                  <c:v>49</c:v>
                </c:pt>
                <c:pt idx="46">
                  <c:v>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4.144620475108916</c:v>
                </c:pt>
                <c:pt idx="43">
                  <c:v>35.90436685264099</c:v>
                </c:pt>
                <c:pt idx="44">
                  <c:v>37.611371232268361</c:v>
                </c:pt>
                <c:pt idx="45">
                  <c:v>39.223118610219743</c:v>
                </c:pt>
                <c:pt idx="46">
                  <c:v>40.815141160851923</c:v>
                </c:pt>
                <c:pt idx="47">
                  <c:v>42.413766749478384</c:v>
                </c:pt>
                <c:pt idx="48">
                  <c:v>43.984225705976712</c:v>
                </c:pt>
                <c:pt idx="49">
                  <c:v>45.502973160514323</c:v>
                </c:pt>
                <c:pt idx="50">
                  <c:v>46.876725788491697</c:v>
                </c:pt>
                <c:pt idx="51">
                  <c:v>48.225454547907077</c:v>
                </c:pt>
                <c:pt idx="52">
                  <c:v>49.535024270010084</c:v>
                </c:pt>
                <c:pt idx="53">
                  <c:v>50.830433170435029</c:v>
                </c:pt>
                <c:pt idx="54">
                  <c:v>52.008431865828143</c:v>
                </c:pt>
                <c:pt idx="55">
                  <c:v>53.13077592751938</c:v>
                </c:pt>
                <c:pt idx="56">
                  <c:v>54.239845595404709</c:v>
                </c:pt>
                <c:pt idx="57">
                  <c:v>55.279493923526672</c:v>
                </c:pt>
                <c:pt idx="58">
                  <c:v>56.257920416366161</c:v>
                </c:pt>
                <c:pt idx="59">
                  <c:v>57.174852260323064</c:v>
                </c:pt>
                <c:pt idx="60">
                  <c:v>58.067001572666321</c:v>
                </c:pt>
                <c:pt idx="61">
                  <c:v>58.886754621841519</c:v>
                </c:pt>
                <c:pt idx="62">
                  <c:v>59.639024701374595</c:v>
                </c:pt>
                <c:pt idx="63">
                  <c:v>60.339300690235177</c:v>
                </c:pt>
                <c:pt idx="64">
                  <c:v>61.003258765132045</c:v>
                </c:pt>
                <c:pt idx="65">
                  <c:v>61.597200214408318</c:v>
                </c:pt>
                <c:pt idx="66">
                  <c:v>62.126697970393941</c:v>
                </c:pt>
                <c:pt idx="67">
                  <c:v>62.603564940124301</c:v>
                </c:pt>
                <c:pt idx="68">
                  <c:v>63.030110152706129</c:v>
                </c:pt>
                <c:pt idx="69">
                  <c:v>63.402337130121978</c:v>
                </c:pt>
                <c:pt idx="70">
                  <c:v>63.717427033221838</c:v>
                </c:pt>
                <c:pt idx="71">
                  <c:v>63.986472236718313</c:v>
                </c:pt>
                <c:pt idx="72">
                  <c:v>64.198064509944146</c:v>
                </c:pt>
                <c:pt idx="73">
                  <c:v>64.35252493272074</c:v>
                </c:pt>
                <c:pt idx="74">
                  <c:v>64.443849765594337</c:v>
                </c:pt>
                <c:pt idx="75">
                  <c:v>64.481553506307421</c:v>
                </c:pt>
                <c:pt idx="76">
                  <c:v>64.465854636471221</c:v>
                </c:pt>
                <c:pt idx="77">
                  <c:v>64.396733178759007</c:v>
                </c:pt>
                <c:pt idx="78">
                  <c:v>64.272164794532856</c:v>
                </c:pt>
                <c:pt idx="79">
                  <c:v>64.090871302054495</c:v>
                </c:pt>
                <c:pt idx="80">
                  <c:v>63.855776565991427</c:v>
                </c:pt>
                <c:pt idx="81">
                  <c:v>63.568495820613364</c:v>
                </c:pt>
                <c:pt idx="82">
                  <c:v>63.229647923019542</c:v>
                </c:pt>
                <c:pt idx="83">
                  <c:v>62.83936305591989</c:v>
                </c:pt>
                <c:pt idx="84">
                  <c:v>62.399332939706596</c:v>
                </c:pt>
                <c:pt idx="85">
                  <c:v>61.911142590165724</c:v>
                </c:pt>
                <c:pt idx="86">
                  <c:v>61.376441296945799</c:v>
                </c:pt>
                <c:pt idx="87">
                  <c:v>60.796605736723997</c:v>
                </c:pt>
                <c:pt idx="88">
                  <c:v>60.173494513371722</c:v>
                </c:pt>
                <c:pt idx="89">
                  <c:v>59.508777227969631</c:v>
                </c:pt>
                <c:pt idx="90">
                  <c:v>58.804036826891355</c:v>
                </c:pt>
                <c:pt idx="91">
                  <c:v>58.061203281667758</c:v>
                </c:pt>
                <c:pt idx="92">
                  <c:v>57.282420428656877</c:v>
                </c:pt>
                <c:pt idx="93">
                  <c:v>56.469756303491124</c:v>
                </c:pt>
                <c:pt idx="94">
                  <c:v>55.625251435798376</c:v>
                </c:pt>
                <c:pt idx="95">
                  <c:v>54.7510255186734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4.211654572296794</c:v>
                </c:pt>
                <c:pt idx="43">
                  <c:v>36.065273895664646</c:v>
                </c:pt>
                <c:pt idx="44">
                  <c:v>37.896365866423558</c:v>
                </c:pt>
                <c:pt idx="45">
                  <c:v>39.665366547822785</c:v>
                </c:pt>
                <c:pt idx="46">
                  <c:v>41.449695059827079</c:v>
                </c:pt>
                <c:pt idx="47">
                  <c:v>43.278649726033791</c:v>
                </c:pt>
                <c:pt idx="48">
                  <c:v>45.118091888901084</c:v>
                </c:pt>
                <c:pt idx="49">
                  <c:v>46.94587227553582</c:v>
                </c:pt>
                <c:pt idx="50">
                  <c:v>48.668635320974772</c:v>
                </c:pt>
                <c:pt idx="51">
                  <c:v>50.406771186929426</c:v>
                </c:pt>
                <c:pt idx="52">
                  <c:v>52.145749957181621</c:v>
                </c:pt>
                <c:pt idx="53">
                  <c:v>53.909448912992943</c:v>
                </c:pt>
                <c:pt idx="54">
                  <c:v>55.593609021756464</c:v>
                </c:pt>
                <c:pt idx="55">
                  <c:v>57.258240734256091</c:v>
                </c:pt>
                <c:pt idx="56">
                  <c:v>58.944176077727931</c:v>
                </c:pt>
                <c:pt idx="57">
                  <c:v>60.593015401394602</c:v>
                </c:pt>
                <c:pt idx="58">
                  <c:v>62.210510525086903</c:v>
                </c:pt>
                <c:pt idx="59">
                  <c:v>63.792597394063641</c:v>
                </c:pt>
                <c:pt idx="60">
                  <c:v>65.373772306534818</c:v>
                </c:pt>
                <c:pt idx="61">
                  <c:v>66.902472612093874</c:v>
                </c:pt>
                <c:pt idx="62">
                  <c:v>68.380734435084847</c:v>
                </c:pt>
                <c:pt idx="63">
                  <c:v>69.821219106101253</c:v>
                </c:pt>
                <c:pt idx="64">
                  <c:v>71.236124212682071</c:v>
                </c:pt>
                <c:pt idx="65">
                  <c:v>72.588119222805148</c:v>
                </c:pt>
                <c:pt idx="66">
                  <c:v>73.879519981574788</c:v>
                </c:pt>
                <c:pt idx="67">
                  <c:v>75.119207605761275</c:v>
                </c:pt>
                <c:pt idx="68">
                  <c:v>76.306205261551924</c:v>
                </c:pt>
                <c:pt idx="69">
                  <c:v>77.433262877008787</c:v>
                </c:pt>
                <c:pt idx="70">
                  <c:v>78.494191563657466</c:v>
                </c:pt>
                <c:pt idx="71">
                  <c:v>79.496828441112456</c:v>
                </c:pt>
                <c:pt idx="72">
                  <c:v>80.426388376426701</c:v>
                </c:pt>
                <c:pt idx="73">
                  <c:v>81.280253655889624</c:v>
                </c:pt>
                <c:pt idx="74">
                  <c:v>82.049463752856951</c:v>
                </c:pt>
                <c:pt idx="75">
                  <c:v>82.740926412153939</c:v>
                </c:pt>
                <c:pt idx="76">
                  <c:v>83.352255453178401</c:v>
                </c:pt>
                <c:pt idx="77">
                  <c:v>83.880985673452017</c:v>
                </c:pt>
                <c:pt idx="78">
                  <c:v>84.32261365386546</c:v>
                </c:pt>
                <c:pt idx="79">
                  <c:v>84.673684349419005</c:v>
                </c:pt>
                <c:pt idx="80">
                  <c:v>84.935342797731636</c:v>
                </c:pt>
                <c:pt idx="81">
                  <c:v>85.107507739209836</c:v>
                </c:pt>
                <c:pt idx="82">
                  <c:v>85.189317995145203</c:v>
                </c:pt>
                <c:pt idx="83">
                  <c:v>85.179644476991768</c:v>
                </c:pt>
                <c:pt idx="84">
                  <c:v>85.079140427643736</c:v>
                </c:pt>
                <c:pt idx="85">
                  <c:v>84.888580848028766</c:v>
                </c:pt>
                <c:pt idx="86">
                  <c:v>84.609032120009033</c:v>
                </c:pt>
                <c:pt idx="87">
                  <c:v>84.241515762964198</c:v>
                </c:pt>
                <c:pt idx="88">
                  <c:v>83.787758249954919</c:v>
                </c:pt>
                <c:pt idx="89">
                  <c:v>83.249514177592943</c:v>
                </c:pt>
                <c:pt idx="90">
                  <c:v>82.628659685953778</c:v>
                </c:pt>
                <c:pt idx="91">
                  <c:v>81.927618163594019</c:v>
                </c:pt>
                <c:pt idx="92">
                  <c:v>81.149219634385062</c:v>
                </c:pt>
                <c:pt idx="93">
                  <c:v>80.296400818835451</c:v>
                </c:pt>
                <c:pt idx="94">
                  <c:v>79.372240613803115</c:v>
                </c:pt>
                <c:pt idx="95">
                  <c:v>78.3800489725024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4.27906910551846</c:v>
                </c:pt>
                <c:pt idx="43">
                  <c:v>36.227563813386226</c:v>
                </c:pt>
                <c:pt idx="44">
                  <c:v>38.184805441733985</c:v>
                </c:pt>
                <c:pt idx="45">
                  <c:v>40.114720352954791</c:v>
                </c:pt>
                <c:pt idx="46">
                  <c:v>42.097238493549504</c:v>
                </c:pt>
                <c:pt idx="47">
                  <c:v>44.165330888319289</c:v>
                </c:pt>
                <c:pt idx="48">
                  <c:v>46.286245783486301</c:v>
                </c:pt>
                <c:pt idx="49">
                  <c:v>48.440034322727101</c:v>
                </c:pt>
                <c:pt idx="50">
                  <c:v>50.534097382527925</c:v>
                </c:pt>
                <c:pt idx="51">
                  <c:v>52.690087119475677</c:v>
                </c:pt>
                <c:pt idx="52">
                  <c:v>54.893913011134984</c:v>
                </c:pt>
                <c:pt idx="53">
                  <c:v>57.169132074571415</c:v>
                </c:pt>
                <c:pt idx="54">
                  <c:v>59.411224497480745</c:v>
                </c:pt>
                <c:pt idx="55">
                  <c:v>61.679130740570244</c:v>
                </c:pt>
                <c:pt idx="56">
                  <c:v>64.012728323472828</c:v>
                </c:pt>
                <c:pt idx="57">
                  <c:v>66.351852498643069</c:v>
                </c:pt>
                <c:pt idx="58">
                  <c:v>68.700178499134338</c:v>
                </c:pt>
                <c:pt idx="59">
                  <c:v>71.050084935810261</c:v>
                </c:pt>
                <c:pt idx="60">
                  <c:v>73.433938246473502</c:v>
                </c:pt>
                <c:pt idx="61">
                  <c:v>75.796144284061626</c:v>
                </c:pt>
                <c:pt idx="62">
                  <c:v>78.13560779548979</c:v>
                </c:pt>
                <c:pt idx="63">
                  <c:v>80.461733469253943</c:v>
                </c:pt>
                <c:pt idx="64">
                  <c:v>82.782632763414796</c:v>
                </c:pt>
                <c:pt idx="65">
                  <c:v>85.05657068518812</c:v>
                </c:pt>
                <c:pt idx="66">
                  <c:v>87.281674436770572</c:v>
                </c:pt>
                <c:pt idx="67">
                  <c:v>89.462797294461865</c:v>
                </c:pt>
                <c:pt idx="68">
                  <c:v>91.594427133848598</c:v>
                </c:pt>
                <c:pt idx="69">
                  <c:v>93.664671277057579</c:v>
                </c:pt>
                <c:pt idx="70">
                  <c:v>95.662457778020979</c:v>
                </c:pt>
                <c:pt idx="71">
                  <c:v>97.59074905333776</c:v>
                </c:pt>
                <c:pt idx="72">
                  <c:v>99.429681389271906</c:v>
                </c:pt>
                <c:pt idx="73">
                  <c:v>101.17193721856779</c:v>
                </c:pt>
                <c:pt idx="74">
                  <c:v>102.80379819148112</c:v>
                </c:pt>
                <c:pt idx="75">
                  <c:v>104.32774799626267</c:v>
                </c:pt>
                <c:pt idx="76">
                  <c:v>105.73698629443305</c:v>
                </c:pt>
                <c:pt idx="77">
                  <c:v>107.02482517454992</c:v>
                </c:pt>
                <c:pt idx="78">
                  <c:v>108.18256019127875</c:v>
                </c:pt>
                <c:pt idx="79">
                  <c:v>109.20291715387029</c:v>
                </c:pt>
                <c:pt idx="80">
                  <c:v>110.08372283349655</c:v>
                </c:pt>
                <c:pt idx="81">
                  <c:v>110.82178245098578</c:v>
                </c:pt>
                <c:pt idx="82">
                  <c:v>111.41347819180147</c:v>
                </c:pt>
                <c:pt idx="83">
                  <c:v>111.85530212763871</c:v>
                </c:pt>
                <c:pt idx="84">
                  <c:v>112.1459204778828</c:v>
                </c:pt>
                <c:pt idx="85">
                  <c:v>112.28453187993365</c:v>
                </c:pt>
                <c:pt idx="86">
                  <c:v>112.27104426802745</c:v>
                </c:pt>
                <c:pt idx="87">
                  <c:v>112.10574517142825</c:v>
                </c:pt>
                <c:pt idx="88">
                  <c:v>111.79004955158229</c:v>
                </c:pt>
                <c:pt idx="89">
                  <c:v>111.32581663807863</c:v>
                </c:pt>
                <c:pt idx="90">
                  <c:v>110.71543129151503</c:v>
                </c:pt>
                <c:pt idx="91">
                  <c:v>109.96221620341359</c:v>
                </c:pt>
                <c:pt idx="92">
                  <c:v>109.07027556006199</c:v>
                </c:pt>
                <c:pt idx="93">
                  <c:v>108.04417435070073</c:v>
                </c:pt>
                <c:pt idx="94">
                  <c:v>106.8889484652023</c:v>
                </c:pt>
                <c:pt idx="95">
                  <c:v>105.610166492997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0</c:v>
                </c:pt>
                <c:pt idx="9">
                  <c:v>0</c:v>
                </c:pt>
                <c:pt idx="10">
                  <c:v>1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5</c:v>
                </c:pt>
                <c:pt idx="16">
                  <c:v>4</c:v>
                </c:pt>
                <c:pt idx="17">
                  <c:v>5</c:v>
                </c:pt>
                <c:pt idx="18">
                  <c:v>6</c:v>
                </c:pt>
                <c:pt idx="19">
                  <c:v>4</c:v>
                </c:pt>
                <c:pt idx="20">
                  <c:v>4</c:v>
                </c:pt>
                <c:pt idx="21">
                  <c:v>4</c:v>
                </c:pt>
                <c:pt idx="22">
                  <c:v>4</c:v>
                </c:pt>
                <c:pt idx="23">
                  <c:v>4</c:v>
                </c:pt>
                <c:pt idx="24">
                  <c:v>5</c:v>
                </c:pt>
                <c:pt idx="25">
                  <c:v>5</c:v>
                </c:pt>
                <c:pt idx="26">
                  <c:v>6</c:v>
                </c:pt>
                <c:pt idx="27">
                  <c:v>7</c:v>
                </c:pt>
                <c:pt idx="28">
                  <c:v>9</c:v>
                </c:pt>
                <c:pt idx="29">
                  <c:v>7</c:v>
                </c:pt>
                <c:pt idx="30">
                  <c:v>14</c:v>
                </c:pt>
                <c:pt idx="31">
                  <c:v>19</c:v>
                </c:pt>
                <c:pt idx="32">
                  <c:v>19</c:v>
                </c:pt>
                <c:pt idx="33">
                  <c:v>22</c:v>
                </c:pt>
                <c:pt idx="34">
                  <c:v>23</c:v>
                </c:pt>
                <c:pt idx="35">
                  <c:v>25</c:v>
                </c:pt>
                <c:pt idx="36">
                  <c:v>27</c:v>
                </c:pt>
                <c:pt idx="37">
                  <c:v>28</c:v>
                </c:pt>
                <c:pt idx="38">
                  <c:v>34</c:v>
                </c:pt>
                <c:pt idx="39">
                  <c:v>35</c:v>
                </c:pt>
                <c:pt idx="40">
                  <c:v>34</c:v>
                </c:pt>
                <c:pt idx="41">
                  <c:v>29</c:v>
                </c:pt>
                <c:pt idx="42">
                  <c:v>28</c:v>
                </c:pt>
                <c:pt idx="43">
                  <c:v>35</c:v>
                </c:pt>
                <c:pt idx="44">
                  <c:v>37</c:v>
                </c:pt>
                <c:pt idx="45">
                  <c:v>42</c:v>
                </c:pt>
                <c:pt idx="46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3.65083135465855</c:v>
                </c:pt>
                <c:pt idx="43">
                  <c:v>35.393799431310498</c:v>
                </c:pt>
                <c:pt idx="44">
                  <c:v>37.083583762108063</c:v>
                </c:pt>
                <c:pt idx="45">
                  <c:v>38.682558432427157</c:v>
                </c:pt>
                <c:pt idx="46">
                  <c:v>40.263714514985267</c:v>
                </c:pt>
                <c:pt idx="47">
                  <c:v>41.852572492868248</c:v>
                </c:pt>
                <c:pt idx="48">
                  <c:v>43.410485984230213</c:v>
                </c:pt>
                <c:pt idx="49">
                  <c:v>44.918436153211282</c:v>
                </c:pt>
                <c:pt idx="50">
                  <c:v>46.287164995378959</c:v>
                </c:pt>
                <c:pt idx="51">
                  <c:v>47.628031479568037</c:v>
                </c:pt>
                <c:pt idx="52">
                  <c:v>48.927199750278753</c:v>
                </c:pt>
                <c:pt idx="53">
                  <c:v>50.211646958240784</c:v>
                </c:pt>
                <c:pt idx="54">
                  <c:v>51.383376187511573</c:v>
                </c:pt>
                <c:pt idx="55">
                  <c:v>52.497199013784623</c:v>
                </c:pt>
                <c:pt idx="56">
                  <c:v>53.595748522391432</c:v>
                </c:pt>
                <c:pt idx="57">
                  <c:v>54.624956821332219</c:v>
                </c:pt>
                <c:pt idx="58">
                  <c:v>55.594556060358705</c:v>
                </c:pt>
                <c:pt idx="59">
                  <c:v>56.501705276664126</c:v>
                </c:pt>
                <c:pt idx="60">
                  <c:v>57.380851937584637</c:v>
                </c:pt>
                <c:pt idx="61">
                  <c:v>58.190186874556879</c:v>
                </c:pt>
                <c:pt idx="62">
                  <c:v>58.931944274575365</c:v>
                </c:pt>
                <c:pt idx="63">
                  <c:v>59.622626438318889</c:v>
                </c:pt>
                <c:pt idx="64">
                  <c:v>60.275687219248411</c:v>
                </c:pt>
                <c:pt idx="65">
                  <c:v>60.859704578497237</c:v>
                </c:pt>
                <c:pt idx="66">
                  <c:v>61.379578573789502</c:v>
                </c:pt>
                <c:pt idx="67">
                  <c:v>61.846636848012984</c:v>
                </c:pt>
                <c:pt idx="68">
                  <c:v>62.263784993792683</c:v>
                </c:pt>
                <c:pt idx="69">
                  <c:v>62.627418093349959</c:v>
                </c:pt>
                <c:pt idx="70">
                  <c:v>62.934670343991442</c:v>
                </c:pt>
                <c:pt idx="71">
                  <c:v>63.195728274693273</c:v>
                </c:pt>
                <c:pt idx="72">
                  <c:v>63.399733633776208</c:v>
                </c:pt>
                <c:pt idx="73">
                  <c:v>63.547342931390226</c:v>
                </c:pt>
                <c:pt idx="74">
                  <c:v>63.632590526716243</c:v>
                </c:pt>
                <c:pt idx="75">
                  <c:v>63.664930350149916</c:v>
                </c:pt>
                <c:pt idx="76">
                  <c:v>63.644720849289627</c:v>
                </c:pt>
                <c:pt idx="77">
                  <c:v>63.57186654534528</c:v>
                </c:pt>
                <c:pt idx="78">
                  <c:v>63.444299306753109</c:v>
                </c:pt>
                <c:pt idx="79">
                  <c:v>63.260672017297935</c:v>
                </c:pt>
                <c:pt idx="80">
                  <c:v>63.024045373123847</c:v>
                </c:pt>
                <c:pt idx="81">
                  <c:v>62.736031962077625</c:v>
                </c:pt>
                <c:pt idx="82">
                  <c:v>62.397246687531073</c:v>
                </c:pt>
                <c:pt idx="83">
                  <c:v>62.007810837840822</c:v>
                </c:pt>
                <c:pt idx="84">
                  <c:v>61.569425834597169</c:v>
                </c:pt>
                <c:pt idx="85">
                  <c:v>61.083673198146229</c:v>
                </c:pt>
                <c:pt idx="86">
                  <c:v>60.552197704401195</c:v>
                </c:pt>
                <c:pt idx="87">
                  <c:v>59.97637910597328</c:v>
                </c:pt>
                <c:pt idx="88">
                  <c:v>59.358071557201185</c:v>
                </c:pt>
                <c:pt idx="89">
                  <c:v>58.698923725846242</c:v>
                </c:pt>
                <c:pt idx="90">
                  <c:v>58.000482923378001</c:v>
                </c:pt>
                <c:pt idx="91">
                  <c:v>57.264664444803941</c:v>
                </c:pt>
                <c:pt idx="92">
                  <c:v>56.493599751056408</c:v>
                </c:pt>
                <c:pt idx="93">
                  <c:v>55.689336230808429</c:v>
                </c:pt>
                <c:pt idx="94">
                  <c:v>54.853888557667943</c:v>
                </c:pt>
                <c:pt idx="95">
                  <c:v>53.9893514415729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3.717639927619388</c:v>
                </c:pt>
                <c:pt idx="43">
                  <c:v>35.554159780302548</c:v>
                </c:pt>
                <c:pt idx="44">
                  <c:v>37.367516566535727</c:v>
                </c:pt>
                <c:pt idx="45">
                  <c:v>39.122982751928333</c:v>
                </c:pt>
                <c:pt idx="46">
                  <c:v>40.895416561794562</c:v>
                </c:pt>
                <c:pt idx="47">
                  <c:v>42.713292073249171</c:v>
                </c:pt>
                <c:pt idx="48">
                  <c:v>44.538536396756442</c:v>
                </c:pt>
                <c:pt idx="49">
                  <c:v>46.353472144507776</c:v>
                </c:pt>
                <c:pt idx="50">
                  <c:v>48.068750440699546</c:v>
                </c:pt>
                <c:pt idx="51">
                  <c:v>49.796038102542298</c:v>
                </c:pt>
                <c:pt idx="52">
                  <c:v>51.52110108199858</c:v>
                </c:pt>
                <c:pt idx="53">
                  <c:v>53.269769349677944</c:v>
                </c:pt>
                <c:pt idx="54">
                  <c:v>54.943059604551522</c:v>
                </c:pt>
                <c:pt idx="55">
                  <c:v>56.593981895941191</c:v>
                </c:pt>
                <c:pt idx="56">
                  <c:v>58.26362085390371</c:v>
                </c:pt>
                <c:pt idx="57">
                  <c:v>59.895697723465673</c:v>
                </c:pt>
                <c:pt idx="58">
                  <c:v>61.497476832093042</c:v>
                </c:pt>
                <c:pt idx="59">
                  <c:v>63.062314920355945</c:v>
                </c:pt>
                <c:pt idx="60">
                  <c:v>64.62242217257544</c:v>
                </c:pt>
                <c:pt idx="61">
                  <c:v>66.132112664557141</c:v>
                </c:pt>
                <c:pt idx="62">
                  <c:v>67.590758280686657</c:v>
                </c:pt>
                <c:pt idx="63">
                  <c:v>69.012090342980287</c:v>
                </c:pt>
                <c:pt idx="64">
                  <c:v>70.406064075621543</c:v>
                </c:pt>
                <c:pt idx="65">
                  <c:v>71.737696645917595</c:v>
                </c:pt>
                <c:pt idx="66">
                  <c:v>73.008655592848925</c:v>
                </c:pt>
                <c:pt idx="67">
                  <c:v>74.22738690134895</c:v>
                </c:pt>
                <c:pt idx="68">
                  <c:v>75.393556547073445</c:v>
                </c:pt>
                <c:pt idx="69">
                  <c:v>76.500354583316692</c:v>
                </c:pt>
                <c:pt idx="70">
                  <c:v>77.541605205182833</c:v>
                </c:pt>
                <c:pt idx="71">
                  <c:v>78.52427491473</c:v>
                </c:pt>
                <c:pt idx="72">
                  <c:v>79.434189425557264</c:v>
                </c:pt>
                <c:pt idx="73">
                  <c:v>80.269131124992469</c:v>
                </c:pt>
                <c:pt idx="74">
                  <c:v>81.020236836958432</c:v>
                </c:pt>
                <c:pt idx="75">
                  <c:v>81.694401154222163</c:v>
                </c:pt>
                <c:pt idx="76">
                  <c:v>82.289432591903008</c:v>
                </c:pt>
                <c:pt idx="77">
                  <c:v>82.802844692266376</c:v>
                </c:pt>
                <c:pt idx="78">
                  <c:v>83.230132451356582</c:v>
                </c:pt>
                <c:pt idx="79">
                  <c:v>83.567818087421585</c:v>
                </c:pt>
                <c:pt idx="80">
                  <c:v>83.817237676550533</c:v>
                </c:pt>
                <c:pt idx="81">
                  <c:v>83.978352824246031</c:v>
                </c:pt>
                <c:pt idx="82">
                  <c:v>84.050341273563376</c:v>
                </c:pt>
                <c:pt idx="83">
                  <c:v>84.032105022395129</c:v>
                </c:pt>
                <c:pt idx="84">
                  <c:v>83.924343994680513</c:v>
                </c:pt>
                <c:pt idx="85">
                  <c:v>83.727863718418774</c:v>
                </c:pt>
                <c:pt idx="86">
                  <c:v>83.443756787386917</c:v>
                </c:pt>
                <c:pt idx="87">
                  <c:v>83.073075133878291</c:v>
                </c:pt>
                <c:pt idx="88">
                  <c:v>82.617564668489308</c:v>
                </c:pt>
                <c:pt idx="89">
                  <c:v>82.078979373357171</c:v>
                </c:pt>
                <c:pt idx="90">
                  <c:v>81.459176255997107</c:v>
                </c:pt>
                <c:pt idx="91">
                  <c:v>80.760576675595075</c:v>
                </c:pt>
                <c:pt idx="92">
                  <c:v>79.986007208528292</c:v>
                </c:pt>
                <c:pt idx="93">
                  <c:v>79.138389221063193</c:v>
                </c:pt>
                <c:pt idx="94">
                  <c:v>78.220777406728914</c:v>
                </c:pt>
                <c:pt idx="95">
                  <c:v>77.2364545882453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3.784827567377206</c:v>
                </c:pt>
                <c:pt idx="43">
                  <c:v>35.7158982372341</c:v>
                </c:pt>
                <c:pt idx="44">
                  <c:v>37.65488224839293</c:v>
                </c:pt>
                <c:pt idx="45">
                  <c:v>39.570487006003766</c:v>
                </c:pt>
                <c:pt idx="46">
                  <c:v>41.540058023242835</c:v>
                </c:pt>
                <c:pt idx="47">
                  <c:v>43.595720249381507</c:v>
                </c:pt>
                <c:pt idx="48">
                  <c:v>45.700723882126809</c:v>
                </c:pt>
                <c:pt idx="49">
                  <c:v>47.839530252752226</c:v>
                </c:pt>
                <c:pt idx="50">
                  <c:v>49.923519472054615</c:v>
                </c:pt>
                <c:pt idx="51">
                  <c:v>52.065498295713674</c:v>
                </c:pt>
                <c:pt idx="52">
                  <c:v>54.251656777743712</c:v>
                </c:pt>
                <c:pt idx="53">
                  <c:v>56.507465408877621</c:v>
                </c:pt>
                <c:pt idx="54">
                  <c:v>58.733689726573587</c:v>
                </c:pt>
                <c:pt idx="55">
                  <c:v>60.982198755937389</c:v>
                </c:pt>
                <c:pt idx="56">
                  <c:v>63.293107563609162</c:v>
                </c:pt>
                <c:pt idx="57">
                  <c:v>65.60839953437997</c:v>
                </c:pt>
                <c:pt idx="58">
                  <c:v>67.933227938713287</c:v>
                </c:pt>
                <c:pt idx="59">
                  <c:v>70.257367423006144</c:v>
                </c:pt>
                <c:pt idx="60">
                  <c:v>72.610863891560598</c:v>
                </c:pt>
                <c:pt idx="61">
                  <c:v>74.944060688504322</c:v>
                </c:pt>
                <c:pt idx="62">
                  <c:v>77.253203281703378</c:v>
                </c:pt>
                <c:pt idx="63">
                  <c:v>79.548815151313846</c:v>
                </c:pt>
                <c:pt idx="64">
                  <c:v>81.836739556975317</c:v>
                </c:pt>
                <c:pt idx="65">
                  <c:v>84.077657184586656</c:v>
                </c:pt>
                <c:pt idx="66">
                  <c:v>86.269071073274475</c:v>
                </c:pt>
                <c:pt idx="67">
                  <c:v>88.415452149643542</c:v>
                </c:pt>
                <c:pt idx="68">
                  <c:v>90.511983195562536</c:v>
                </c:pt>
                <c:pt idx="69">
                  <c:v>92.547269315868888</c:v>
                </c:pt>
                <c:pt idx="70">
                  <c:v>94.51032408151417</c:v>
                </c:pt>
                <c:pt idx="71">
                  <c:v>96.403289969408149</c:v>
                </c:pt>
                <c:pt idx="72">
                  <c:v>98.206993542809485</c:v>
                </c:pt>
                <c:pt idx="73">
                  <c:v>99.914603540051985</c:v>
                </c:pt>
                <c:pt idx="74">
                  <c:v>101.51258253993319</c:v>
                </c:pt>
                <c:pt idx="75">
                  <c:v>103.00347531193941</c:v>
                </c:pt>
                <c:pt idx="76">
                  <c:v>104.38076003725612</c:v>
                </c:pt>
                <c:pt idx="77">
                  <c:v>105.63781283390145</c:v>
                </c:pt>
                <c:pt idx="78">
                  <c:v>106.76600237868035</c:v>
                </c:pt>
                <c:pt idx="79">
                  <c:v>107.75811147664577</c:v>
                </c:pt>
                <c:pt idx="80">
                  <c:v>108.61224634290353</c:v>
                </c:pt>
                <c:pt idx="81">
                  <c:v>109.32533495211307</c:v>
                </c:pt>
                <c:pt idx="82">
                  <c:v>109.89387535108931</c:v>
                </c:pt>
                <c:pt idx="83">
                  <c:v>110.3144639645959</c:v>
                </c:pt>
                <c:pt idx="84">
                  <c:v>110.58588275092598</c:v>
                </c:pt>
                <c:pt idx="85">
                  <c:v>110.707425334839</c:v>
                </c:pt>
                <c:pt idx="86">
                  <c:v>110.67908496887881</c:v>
                </c:pt>
                <c:pt idx="87">
                  <c:v>110.50123288508632</c:v>
                </c:pt>
                <c:pt idx="88">
                  <c:v>110.17535056874884</c:v>
                </c:pt>
                <c:pt idx="89">
                  <c:v>109.70333710721775</c:v>
                </c:pt>
                <c:pt idx="90">
                  <c:v>109.08759157994379</c:v>
                </c:pt>
                <c:pt idx="91">
                  <c:v>108.33146066297198</c:v>
                </c:pt>
                <c:pt idx="92">
                  <c:v>107.4390637725958</c:v>
                </c:pt>
                <c:pt idx="93">
                  <c:v>106.4149618957747</c:v>
                </c:pt>
                <c:pt idx="94">
                  <c:v>105.26417071094379</c:v>
                </c:pt>
                <c:pt idx="95">
                  <c:v>103.992228433352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3</c:v>
                </c:pt>
                <c:pt idx="14">
                  <c:v>2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4</c:v>
                </c:pt>
                <c:pt idx="39">
                  <c:v>3</c:v>
                </c:pt>
                <c:pt idx="40">
                  <c:v>3</c:v>
                </c:pt>
                <c:pt idx="41">
                  <c:v>4</c:v>
                </c:pt>
                <c:pt idx="42">
                  <c:v>4</c:v>
                </c:pt>
                <c:pt idx="43">
                  <c:v>5</c:v>
                </c:pt>
                <c:pt idx="44">
                  <c:v>5</c:v>
                </c:pt>
                <c:pt idx="45">
                  <c:v>6</c:v>
                </c:pt>
                <c:pt idx="46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.3280907350854316</c:v>
                </c:pt>
                <c:pt idx="43">
                  <c:v>3.4950612770476033</c:v>
                </c:pt>
                <c:pt idx="44">
                  <c:v>3.6575234749332641</c:v>
                </c:pt>
                <c:pt idx="45">
                  <c:v>3.8090890885958024</c:v>
                </c:pt>
                <c:pt idx="46">
                  <c:v>3.9578809827217816</c:v>
                </c:pt>
                <c:pt idx="47">
                  <c:v>4.1066893600937302</c:v>
                </c:pt>
                <c:pt idx="48">
                  <c:v>4.2544247754371778</c:v>
                </c:pt>
                <c:pt idx="49">
                  <c:v>4.3965945972583231</c:v>
                </c:pt>
                <c:pt idx="50">
                  <c:v>4.5227012205149286</c:v>
                </c:pt>
                <c:pt idx="51">
                  <c:v>4.6480491816266181</c:v>
                </c:pt>
                <c:pt idx="52">
                  <c:v>4.7712108931900197</c:v>
                </c:pt>
                <c:pt idx="53">
                  <c:v>4.8933940387503601</c:v>
                </c:pt>
                <c:pt idx="54">
                  <c:v>5.0025609543229645</c:v>
                </c:pt>
                <c:pt idx="55">
                  <c:v>5.1079081364589669</c:v>
                </c:pt>
                <c:pt idx="56">
                  <c:v>5.2131118326261277</c:v>
                </c:pt>
                <c:pt idx="57">
                  <c:v>5.3120340723301407</c:v>
                </c:pt>
                <c:pt idx="58">
                  <c:v>5.4046070550037166</c:v>
                </c:pt>
                <c:pt idx="59">
                  <c:v>5.4921547215339643</c:v>
                </c:pt>
                <c:pt idx="60">
                  <c:v>5.5791657491708939</c:v>
                </c:pt>
                <c:pt idx="61">
                  <c:v>5.6583129506319008</c:v>
                </c:pt>
                <c:pt idx="62">
                  <c:v>5.731444639076785</c:v>
                </c:pt>
                <c:pt idx="63">
                  <c:v>5.7994207903366899</c:v>
                </c:pt>
                <c:pt idx="64">
                  <c:v>5.864817209700055</c:v>
                </c:pt>
                <c:pt idx="65">
                  <c:v>5.92340974295122</c:v>
                </c:pt>
                <c:pt idx="66">
                  <c:v>5.9760525754994189</c:v>
                </c:pt>
                <c:pt idx="67">
                  <c:v>6.0240622142228872</c:v>
                </c:pt>
                <c:pt idx="68">
                  <c:v>6.0673329495780965</c:v>
                </c:pt>
                <c:pt idx="69">
                  <c:v>6.1052999931599476</c:v>
                </c:pt>
                <c:pt idx="70">
                  <c:v>6.137734655325394</c:v>
                </c:pt>
                <c:pt idx="71">
                  <c:v>6.1661095188383532</c:v>
                </c:pt>
                <c:pt idx="72">
                  <c:v>6.1891104680396376</c:v>
                </c:pt>
                <c:pt idx="73">
                  <c:v>6.2065902359005749</c:v>
                </c:pt>
                <c:pt idx="74">
                  <c:v>6.2179892197812805</c:v>
                </c:pt>
                <c:pt idx="75">
                  <c:v>6.224194356449031</c:v>
                </c:pt>
                <c:pt idx="76">
                  <c:v>6.2251517903032685</c:v>
                </c:pt>
                <c:pt idx="77">
                  <c:v>6.2208993694671024</c:v>
                </c:pt>
                <c:pt idx="78">
                  <c:v>6.2112781468291205</c:v>
                </c:pt>
                <c:pt idx="79">
                  <c:v>6.1962094387276023</c:v>
                </c:pt>
                <c:pt idx="80">
                  <c:v>6.1758841871435139</c:v>
                </c:pt>
                <c:pt idx="81">
                  <c:v>6.1504489540639593</c:v>
                </c:pt>
                <c:pt idx="82">
                  <c:v>6.1199614365023214</c:v>
                </c:pt>
                <c:pt idx="83">
                  <c:v>6.0844380050579687</c:v>
                </c:pt>
                <c:pt idx="84">
                  <c:v>6.0440256126848224</c:v>
                </c:pt>
                <c:pt idx="85">
                  <c:v>5.998868551217182</c:v>
                </c:pt>
                <c:pt idx="86">
                  <c:v>5.9491174239092803</c:v>
                </c:pt>
                <c:pt idx="87">
                  <c:v>5.8948943472615234</c:v>
                </c:pt>
                <c:pt idx="88">
                  <c:v>5.836368703353795</c:v>
                </c:pt>
                <c:pt idx="89">
                  <c:v>5.7737015424177782</c:v>
                </c:pt>
                <c:pt idx="90">
                  <c:v>5.7070538457943147</c:v>
                </c:pt>
                <c:pt idx="91">
                  <c:v>5.6366067797709105</c:v>
                </c:pt>
                <c:pt idx="92">
                  <c:v>5.5625595239268248</c:v>
                </c:pt>
                <c:pt idx="93">
                  <c:v>5.4851087882408294</c:v>
                </c:pt>
                <c:pt idx="94">
                  <c:v>5.4044515456605851</c:v>
                </c:pt>
                <c:pt idx="95">
                  <c:v>5.32079142579445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.3342339755573827</c:v>
                </c:pt>
                <c:pt idx="43">
                  <c:v>3.5098101741855263</c:v>
                </c:pt>
                <c:pt idx="44">
                  <c:v>3.6836954765827654</c:v>
                </c:pt>
                <c:pt idx="45">
                  <c:v>3.8497945399854157</c:v>
                </c:pt>
                <c:pt idx="46">
                  <c:v>4.0164102148454246</c:v>
                </c:pt>
                <c:pt idx="47">
                  <c:v>4.1866085347858739</c:v>
                </c:pt>
                <c:pt idx="48">
                  <c:v>4.3593869702799264</c:v>
                </c:pt>
                <c:pt idx="49">
                  <c:v>4.530406753922863</c:v>
                </c:pt>
                <c:pt idx="50">
                  <c:v>4.6891735705254067</c:v>
                </c:pt>
                <c:pt idx="51">
                  <c:v>4.8510881027371333</c:v>
                </c:pt>
                <c:pt idx="52">
                  <c:v>5.0146890933385473</c:v>
                </c:pt>
                <c:pt idx="53">
                  <c:v>5.1810972605242753</c:v>
                </c:pt>
                <c:pt idx="54">
                  <c:v>5.3381719807148569</c:v>
                </c:pt>
                <c:pt idx="55">
                  <c:v>5.4949825213047294</c:v>
                </c:pt>
                <c:pt idx="56">
                  <c:v>5.6550661084262996</c:v>
                </c:pt>
                <c:pt idx="57">
                  <c:v>5.8120603352725091</c:v>
                </c:pt>
                <c:pt idx="58">
                  <c:v>5.9656879843849051</c:v>
                </c:pt>
                <c:pt idx="59">
                  <c:v>6.116938056143634</c:v>
                </c:pt>
                <c:pt idx="60">
                  <c:v>6.270111346706023</c:v>
                </c:pt>
                <c:pt idx="61">
                  <c:v>6.417487860957241</c:v>
                </c:pt>
                <c:pt idx="62">
                  <c:v>6.5606495146869053</c:v>
                </c:pt>
                <c:pt idx="63">
                  <c:v>6.7001724490177459</c:v>
                </c:pt>
                <c:pt idx="64">
                  <c:v>6.8383303465216594</c:v>
                </c:pt>
                <c:pt idx="65">
                  <c:v>6.9705353418534379</c:v>
                </c:pt>
                <c:pt idx="66">
                  <c:v>7.0973359829635383</c:v>
                </c:pt>
                <c:pt idx="67">
                  <c:v>7.2197589531657114</c:v>
                </c:pt>
                <c:pt idx="68">
                  <c:v>7.3373789369753997</c:v>
                </c:pt>
                <c:pt idx="69">
                  <c:v>7.4493132226253023</c:v>
                </c:pt>
                <c:pt idx="70">
                  <c:v>7.554998701514541</c:v>
                </c:pt>
                <c:pt idx="71">
                  <c:v>7.6555968865165092</c:v>
                </c:pt>
                <c:pt idx="72">
                  <c:v>7.7494581963037668</c:v>
                </c:pt>
                <c:pt idx="73">
                  <c:v>7.8361372771593416</c:v>
                </c:pt>
                <c:pt idx="74">
                  <c:v>7.9147776677815376</c:v>
                </c:pt>
                <c:pt idx="75">
                  <c:v>7.9860071213876598</c:v>
                </c:pt>
                <c:pt idx="76">
                  <c:v>8.0495089461303646</c:v>
                </c:pt>
                <c:pt idx="77">
                  <c:v>8.1050727374985616</c:v>
                </c:pt>
                <c:pt idx="78">
                  <c:v>8.1522945738028909</c:v>
                </c:pt>
                <c:pt idx="79">
                  <c:v>8.1908758643362063</c:v>
                </c:pt>
                <c:pt idx="80">
                  <c:v>8.2208192129044662</c:v>
                </c:pt>
                <c:pt idx="81">
                  <c:v>8.2420948089213297</c:v>
                </c:pt>
                <c:pt idx="82">
                  <c:v>8.2546048155314118</c:v>
                </c:pt>
                <c:pt idx="83">
                  <c:v>8.258231431045747</c:v>
                </c:pt>
                <c:pt idx="84">
                  <c:v>8.2530088561218022</c:v>
                </c:pt>
                <c:pt idx="85">
                  <c:v>8.2389907166473755</c:v>
                </c:pt>
                <c:pt idx="86">
                  <c:v>8.2162590927210264</c:v>
                </c:pt>
                <c:pt idx="87">
                  <c:v>8.1848898265130394</c:v>
                </c:pt>
                <c:pt idx="88">
                  <c:v>8.1450278821751443</c:v>
                </c:pt>
                <c:pt idx="89">
                  <c:v>8.0968312802480487</c:v>
                </c:pt>
                <c:pt idx="90">
                  <c:v>8.0404786885445318</c:v>
                </c:pt>
                <c:pt idx="91">
                  <c:v>7.976188979546686</c:v>
                </c:pt>
                <c:pt idx="92">
                  <c:v>7.9042183175185299</c:v>
                </c:pt>
                <c:pt idx="93">
                  <c:v>7.8248387081863466</c:v>
                </c:pt>
                <c:pt idx="94">
                  <c:v>7.7383395820600533</c:v>
                </c:pt>
                <c:pt idx="95">
                  <c:v>7.64503267327381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.3404121274291843</c:v>
                </c:pt>
                <c:pt idx="43">
                  <c:v>3.5246858628534756</c:v>
                </c:pt>
                <c:pt idx="44">
                  <c:v>3.7101834335563075</c:v>
                </c:pt>
                <c:pt idx="45">
                  <c:v>3.8911522621461914</c:v>
                </c:pt>
                <c:pt idx="46">
                  <c:v>4.0761332241318877</c:v>
                </c:pt>
                <c:pt idx="47">
                  <c:v>4.2685339063394521</c:v>
                </c:pt>
                <c:pt idx="48">
                  <c:v>4.4675099382078676</c:v>
                </c:pt>
                <c:pt idx="49">
                  <c:v>4.6689527147541403</c:v>
                </c:pt>
                <c:pt idx="50">
                  <c:v>4.8624503232287983</c:v>
                </c:pt>
                <c:pt idx="51">
                  <c:v>5.0635809588818379</c:v>
                </c:pt>
                <c:pt idx="52">
                  <c:v>5.2709308851371608</c:v>
                </c:pt>
                <c:pt idx="53">
                  <c:v>5.4856126268158381</c:v>
                </c:pt>
                <c:pt idx="54">
                  <c:v>5.6954570720095923</c:v>
                </c:pt>
                <c:pt idx="55">
                  <c:v>5.9094746185670841</c:v>
                </c:pt>
                <c:pt idx="56">
                  <c:v>6.1311246097012777</c:v>
                </c:pt>
                <c:pt idx="57">
                  <c:v>6.3538716958723906</c:v>
                </c:pt>
                <c:pt idx="58">
                  <c:v>6.5772701215245482</c:v>
                </c:pt>
                <c:pt idx="59">
                  <c:v>6.8020021650976927</c:v>
                </c:pt>
                <c:pt idx="60">
                  <c:v>7.0321952700015498</c:v>
                </c:pt>
                <c:pt idx="61">
                  <c:v>7.259735196329375</c:v>
                </c:pt>
                <c:pt idx="62">
                  <c:v>7.4859198161996083</c:v>
                </c:pt>
                <c:pt idx="63">
                  <c:v>7.7110069498920328</c:v>
                </c:pt>
                <c:pt idx="64">
                  <c:v>7.9369165961195005</c:v>
                </c:pt>
                <c:pt idx="65">
                  <c:v>8.1586293357868414</c:v>
                </c:pt>
                <c:pt idx="66">
                  <c:v>8.3763045773259535</c:v>
                </c:pt>
                <c:pt idx="67">
                  <c:v>8.5905792794210392</c:v>
                </c:pt>
                <c:pt idx="68">
                  <c:v>8.8005931537032946</c:v>
                </c:pt>
                <c:pt idx="69">
                  <c:v>9.00501595059621</c:v>
                </c:pt>
                <c:pt idx="70">
                  <c:v>9.2028076541847401</c:v>
                </c:pt>
                <c:pt idx="71">
                  <c:v>9.3946650441324628</c:v>
                </c:pt>
                <c:pt idx="72">
                  <c:v>9.5784403848320601</c:v>
                </c:pt>
                <c:pt idx="73">
                  <c:v>9.7532206502745673</c:v>
                </c:pt>
                <c:pt idx="74">
                  <c:v>9.9176778758749293</c:v>
                </c:pt>
                <c:pt idx="75">
                  <c:v>10.072003216125227</c:v>
                </c:pt>
                <c:pt idx="76">
                  <c:v>10.215439234346581</c:v>
                </c:pt>
                <c:pt idx="77">
                  <c:v>10.347351221042709</c:v>
                </c:pt>
                <c:pt idx="78">
                  <c:v>10.466918452378035</c:v>
                </c:pt>
                <c:pt idx="79">
                  <c:v>10.573457218994598</c:v>
                </c:pt>
                <c:pt idx="80">
                  <c:v>10.666625469689023</c:v>
                </c:pt>
                <c:pt idx="81">
                  <c:v>10.746071612789034</c:v>
                </c:pt>
                <c:pt idx="82">
                  <c:v>10.81140965450936</c:v>
                </c:pt>
                <c:pt idx="83">
                  <c:v>10.862269519975806</c:v>
                </c:pt>
                <c:pt idx="84">
                  <c:v>10.898470561835294</c:v>
                </c:pt>
                <c:pt idx="85">
                  <c:v>10.919890880909392</c:v>
                </c:pt>
                <c:pt idx="86">
                  <c:v>10.926477404437183</c:v>
                </c:pt>
                <c:pt idx="87">
                  <c:v>10.918212024792297</c:v>
                </c:pt>
                <c:pt idx="88">
                  <c:v>10.895186984742542</c:v>
                </c:pt>
                <c:pt idx="89">
                  <c:v>10.85754845813174</c:v>
                </c:pt>
                <c:pt idx="90">
                  <c:v>10.805503323193911</c:v>
                </c:pt>
                <c:pt idx="91">
                  <c:v>10.739337619933188</c:v>
                </c:pt>
                <c:pt idx="92">
                  <c:v>10.659412223509573</c:v>
                </c:pt>
                <c:pt idx="93">
                  <c:v>10.566139522990081</c:v>
                </c:pt>
                <c:pt idx="94">
                  <c:v>10.459982741539912</c:v>
                </c:pt>
                <c:pt idx="95">
                  <c:v>10.341458315929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4</c:v>
                </c:pt>
                <c:pt idx="4">
                  <c:v>4</c:v>
                </c:pt>
                <c:pt idx="5">
                  <c:v>5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7</c:v>
                </c:pt>
                <c:pt idx="11">
                  <c:v>7</c:v>
                </c:pt>
                <c:pt idx="12">
                  <c:v>8</c:v>
                </c:pt>
                <c:pt idx="13">
                  <c:v>10</c:v>
                </c:pt>
                <c:pt idx="14">
                  <c:v>9</c:v>
                </c:pt>
                <c:pt idx="15">
                  <c:v>5</c:v>
                </c:pt>
                <c:pt idx="16">
                  <c:v>5</c:v>
                </c:pt>
                <c:pt idx="17">
                  <c:v>5</c:v>
                </c:pt>
                <c:pt idx="18">
                  <c:v>5</c:v>
                </c:pt>
                <c:pt idx="19">
                  <c:v>11</c:v>
                </c:pt>
                <c:pt idx="20">
                  <c:v>14</c:v>
                </c:pt>
                <c:pt idx="21">
                  <c:v>15</c:v>
                </c:pt>
                <c:pt idx="22">
                  <c:v>14</c:v>
                </c:pt>
                <c:pt idx="23">
                  <c:v>14</c:v>
                </c:pt>
                <c:pt idx="24">
                  <c:v>16</c:v>
                </c:pt>
                <c:pt idx="25">
                  <c:v>20</c:v>
                </c:pt>
                <c:pt idx="26">
                  <c:v>21</c:v>
                </c:pt>
                <c:pt idx="27">
                  <c:v>19</c:v>
                </c:pt>
                <c:pt idx="28">
                  <c:v>18</c:v>
                </c:pt>
                <c:pt idx="29">
                  <c:v>19</c:v>
                </c:pt>
                <c:pt idx="30">
                  <c:v>18</c:v>
                </c:pt>
                <c:pt idx="31">
                  <c:v>25</c:v>
                </c:pt>
                <c:pt idx="32">
                  <c:v>23</c:v>
                </c:pt>
                <c:pt idx="33">
                  <c:v>25</c:v>
                </c:pt>
                <c:pt idx="34">
                  <c:v>26</c:v>
                </c:pt>
                <c:pt idx="35">
                  <c:v>24</c:v>
                </c:pt>
                <c:pt idx="36">
                  <c:v>27</c:v>
                </c:pt>
                <c:pt idx="37">
                  <c:v>27</c:v>
                </c:pt>
                <c:pt idx="38">
                  <c:v>29</c:v>
                </c:pt>
                <c:pt idx="39">
                  <c:v>29</c:v>
                </c:pt>
                <c:pt idx="40">
                  <c:v>30</c:v>
                </c:pt>
                <c:pt idx="41">
                  <c:v>26</c:v>
                </c:pt>
                <c:pt idx="42">
                  <c:v>22</c:v>
                </c:pt>
                <c:pt idx="43">
                  <c:v>24</c:v>
                </c:pt>
                <c:pt idx="44">
                  <c:v>27</c:v>
                </c:pt>
                <c:pt idx="45">
                  <c:v>33</c:v>
                </c:pt>
                <c:pt idx="46">
                  <c:v>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29.161049356395154</c:v>
                </c:pt>
                <c:pt idx="43">
                  <c:v>30.683393521637974</c:v>
                </c:pt>
                <c:pt idx="44">
                  <c:v>32.157992942625867</c:v>
                </c:pt>
                <c:pt idx="45">
                  <c:v>33.558121586005164</c:v>
                </c:pt>
                <c:pt idx="46">
                  <c:v>34.945038899729695</c:v>
                </c:pt>
                <c:pt idx="47">
                  <c:v>36.34027346839661</c:v>
                </c:pt>
                <c:pt idx="48">
                  <c:v>37.704310639508961</c:v>
                </c:pt>
                <c:pt idx="49">
                  <c:v>39.026426815604268</c:v>
                </c:pt>
                <c:pt idx="50">
                  <c:v>40.23295457345273</c:v>
                </c:pt>
                <c:pt idx="51">
                  <c:v>41.410934947422348</c:v>
                </c:pt>
                <c:pt idx="52">
                  <c:v>42.548508636931103</c:v>
                </c:pt>
                <c:pt idx="53">
                  <c:v>43.67227299696998</c:v>
                </c:pt>
                <c:pt idx="54">
                  <c:v>44.70247748407823</c:v>
                </c:pt>
                <c:pt idx="55">
                  <c:v>45.678296838726865</c:v>
                </c:pt>
                <c:pt idx="56">
                  <c:v>46.637866849434957</c:v>
                </c:pt>
                <c:pt idx="57">
                  <c:v>47.536076512907883</c:v>
                </c:pt>
                <c:pt idx="58">
                  <c:v>48.383630942665476</c:v>
                </c:pt>
                <c:pt idx="59">
                  <c:v>49.174530006292372</c:v>
                </c:pt>
                <c:pt idx="60">
                  <c:v>49.936240149900428</c:v>
                </c:pt>
                <c:pt idx="61">
                  <c:v>50.639568135857047</c:v>
                </c:pt>
                <c:pt idx="62">
                  <c:v>51.28286237812091</c:v>
                </c:pt>
                <c:pt idx="63">
                  <c:v>51.882125609942051</c:v>
                </c:pt>
                <c:pt idx="64">
                  <c:v>52.446271427799921</c:v>
                </c:pt>
                <c:pt idx="65">
                  <c:v>52.950531640294543</c:v>
                </c:pt>
                <c:pt idx="66">
                  <c:v>53.39833777512451</c:v>
                </c:pt>
                <c:pt idx="67">
                  <c:v>53.799073576719621</c:v>
                </c:pt>
                <c:pt idx="68">
                  <c:v>54.156123544428347</c:v>
                </c:pt>
                <c:pt idx="69">
                  <c:v>54.466822870174632</c:v>
                </c:pt>
                <c:pt idx="70">
                  <c:v>54.728567432973357</c:v>
                </c:pt>
                <c:pt idx="71">
                  <c:v>54.949159220251374</c:v>
                </c:pt>
                <c:pt idx="72">
                  <c:v>55.119718324786817</c:v>
                </c:pt>
                <c:pt idx="73">
                  <c:v>55.241281474745513</c:v>
                </c:pt>
                <c:pt idx="74">
                  <c:v>55.308611952905189</c:v>
                </c:pt>
                <c:pt idx="75">
                  <c:v>55.330008283175736</c:v>
                </c:pt>
                <c:pt idx="76">
                  <c:v>55.305977974222458</c:v>
                </c:pt>
                <c:pt idx="77">
                  <c:v>55.236334027726258</c:v>
                </c:pt>
                <c:pt idx="78">
                  <c:v>55.119183733622791</c:v>
                </c:pt>
                <c:pt idx="79">
                  <c:v>54.953239456151366</c:v>
                </c:pt>
                <c:pt idx="80">
                  <c:v>54.7413999198087</c:v>
                </c:pt>
                <c:pt idx="81">
                  <c:v>54.48509104937088</c:v>
                </c:pt>
                <c:pt idx="82">
                  <c:v>54.184852578771654</c:v>
                </c:pt>
                <c:pt idx="83">
                  <c:v>53.840779968353402</c:v>
                </c:pt>
                <c:pt idx="84">
                  <c:v>53.45439463140562</c:v>
                </c:pt>
                <c:pt idx="85">
                  <c:v>53.027093801229029</c:v>
                </c:pt>
                <c:pt idx="86">
                  <c:v>52.560329404832061</c:v>
                </c:pt>
                <c:pt idx="87">
                  <c:v>52.055328723208298</c:v>
                </c:pt>
                <c:pt idx="88">
                  <c:v>51.513729378339761</c:v>
                </c:pt>
                <c:pt idx="89">
                  <c:v>50.936964486826035</c:v>
                </c:pt>
                <c:pt idx="90">
                  <c:v>50.32635738455113</c:v>
                </c:pt>
                <c:pt idx="91">
                  <c:v>49.683586027961631</c:v>
                </c:pt>
                <c:pt idx="92">
                  <c:v>49.010523118011747</c:v>
                </c:pt>
                <c:pt idx="93">
                  <c:v>48.308955614108982</c:v>
                </c:pt>
                <c:pt idx="94">
                  <c:v>47.580634412652728</c:v>
                </c:pt>
                <c:pt idx="95">
                  <c:v>46.82738254330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29.219967479996832</c:v>
                </c:pt>
                <c:pt idx="43">
                  <c:v>30.824807177700677</c:v>
                </c:pt>
                <c:pt idx="44">
                  <c:v>32.408251633022438</c:v>
                </c:pt>
                <c:pt idx="45">
                  <c:v>33.946072714323655</c:v>
                </c:pt>
                <c:pt idx="46">
                  <c:v>35.501158212602576</c:v>
                </c:pt>
                <c:pt idx="47">
                  <c:v>37.097632125065402</c:v>
                </c:pt>
                <c:pt idx="48">
                  <c:v>38.696410202003314</c:v>
                </c:pt>
                <c:pt idx="49">
                  <c:v>40.287884590010023</c:v>
                </c:pt>
                <c:pt idx="50">
                  <c:v>41.798282052508114</c:v>
                </c:pt>
                <c:pt idx="51">
                  <c:v>43.314765555492322</c:v>
                </c:pt>
                <c:pt idx="52">
                  <c:v>44.825118141622852</c:v>
                </c:pt>
                <c:pt idx="53">
                  <c:v>46.354884641833323</c:v>
                </c:pt>
                <c:pt idx="54">
                  <c:v>47.823471650529889</c:v>
                </c:pt>
                <c:pt idx="55">
                  <c:v>49.268380436321323</c:v>
                </c:pt>
                <c:pt idx="56">
                  <c:v>50.726373797888044</c:v>
                </c:pt>
                <c:pt idx="57">
                  <c:v>52.150437591688913</c:v>
                </c:pt>
                <c:pt idx="58">
                  <c:v>53.54906197692619</c:v>
                </c:pt>
                <c:pt idx="59">
                  <c:v>54.912861206764788</c:v>
                </c:pt>
                <c:pt idx="60">
                  <c:v>56.26728934128608</c:v>
                </c:pt>
                <c:pt idx="61">
                  <c:v>57.579814344247779</c:v>
                </c:pt>
                <c:pt idx="62">
                  <c:v>58.846267435904238</c:v>
                </c:pt>
                <c:pt idx="63">
                  <c:v>60.080271649782574</c:v>
                </c:pt>
                <c:pt idx="64">
                  <c:v>61.287611979611768</c:v>
                </c:pt>
                <c:pt idx="65">
                  <c:v>62.440459985378354</c:v>
                </c:pt>
                <c:pt idx="66">
                  <c:v>63.539414968264211</c:v>
                </c:pt>
                <c:pt idx="67">
                  <c:v>64.591374131637764</c:v>
                </c:pt>
                <c:pt idx="68">
                  <c:v>65.596912844616952</c:v>
                </c:pt>
                <c:pt idx="69">
                  <c:v>66.550590974178789</c:v>
                </c:pt>
                <c:pt idx="70">
                  <c:v>67.446951585205483</c:v>
                </c:pt>
                <c:pt idx="71">
                  <c:v>68.290989963856134</c:v>
                </c:pt>
                <c:pt idx="72">
                  <c:v>69.070969153407034</c:v>
                </c:pt>
                <c:pt idx="73">
                  <c:v>69.785465730692863</c:v>
                </c:pt>
                <c:pt idx="74">
                  <c:v>70.426754726345763</c:v>
                </c:pt>
                <c:pt idx="75">
                  <c:v>71.00093016735093</c:v>
                </c:pt>
                <c:pt idx="76">
                  <c:v>71.506313319210477</c:v>
                </c:pt>
                <c:pt idx="77">
                  <c:v>71.940671192634383</c:v>
                </c:pt>
                <c:pt idx="78">
                  <c:v>72.300008082995134</c:v>
                </c:pt>
                <c:pt idx="79">
                  <c:v>72.581210212366827</c:v>
                </c:pt>
                <c:pt idx="80">
                  <c:v>72.785720969040028</c:v>
                </c:pt>
                <c:pt idx="81">
                  <c:v>72.913564430629521</c:v>
                </c:pt>
                <c:pt idx="82">
                  <c:v>72.964064457239488</c:v>
                </c:pt>
                <c:pt idx="83">
                  <c:v>72.936289846307716</c:v>
                </c:pt>
                <c:pt idx="84">
                  <c:v>72.830924346811116</c:v>
                </c:pt>
                <c:pt idx="85">
                  <c:v>72.648723422353157</c:v>
                </c:pt>
                <c:pt idx="86">
                  <c:v>72.390691161905465</c:v>
                </c:pt>
                <c:pt idx="87">
                  <c:v>72.057801304601554</c:v>
                </c:pt>
                <c:pt idx="88">
                  <c:v>71.651627901735353</c:v>
                </c:pt>
                <c:pt idx="89">
                  <c:v>71.17372497480207</c:v>
                </c:pt>
                <c:pt idx="90">
                  <c:v>70.625712768913289</c:v>
                </c:pt>
                <c:pt idx="91">
                  <c:v>70.00973499785249</c:v>
                </c:pt>
                <c:pt idx="92">
                  <c:v>69.32829266616676</c:v>
                </c:pt>
                <c:pt idx="93">
                  <c:v>68.583954664643869</c:v>
                </c:pt>
                <c:pt idx="94">
                  <c:v>67.779396077925895</c:v>
                </c:pt>
                <c:pt idx="95">
                  <c:v>66.9174902521716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29.279219779069088</c:v>
                </c:pt>
                <c:pt idx="43">
                  <c:v>30.96743602427847</c:v>
                </c:pt>
                <c:pt idx="44">
                  <c:v>32.661537115124347</c:v>
                </c:pt>
                <c:pt idx="45">
                  <c:v>34.340264842426407</c:v>
                </c:pt>
                <c:pt idx="46">
                  <c:v>36.068679994161855</c:v>
                </c:pt>
                <c:pt idx="47">
                  <c:v>37.874113366199275</c:v>
                </c:pt>
                <c:pt idx="48">
                  <c:v>39.718567069919274</c:v>
                </c:pt>
                <c:pt idx="49">
                  <c:v>41.59424551991944</c:v>
                </c:pt>
                <c:pt idx="50">
                  <c:v>43.427984484017898</c:v>
                </c:pt>
                <c:pt idx="51">
                  <c:v>45.307791976000715</c:v>
                </c:pt>
                <c:pt idx="52">
                  <c:v>47.221806261396566</c:v>
                </c:pt>
                <c:pt idx="53">
                  <c:v>49.19520033697173</c:v>
                </c:pt>
                <c:pt idx="54">
                  <c:v>51.147171189299442</c:v>
                </c:pt>
                <c:pt idx="55">
                  <c:v>53.114112299275732</c:v>
                </c:pt>
                <c:pt idx="56">
                  <c:v>55.131906564065432</c:v>
                </c:pt>
                <c:pt idx="57">
                  <c:v>57.152036202388828</c:v>
                </c:pt>
                <c:pt idx="58">
                  <c:v>59.181073250227982</c:v>
                </c:pt>
                <c:pt idx="59">
                  <c:v>61.206422970206667</c:v>
                </c:pt>
                <c:pt idx="60">
                  <c:v>63.25157418713539</c:v>
                </c:pt>
                <c:pt idx="61">
                  <c:v>65.280557306239302</c:v>
                </c:pt>
                <c:pt idx="62">
                  <c:v>67.286438795364376</c:v>
                </c:pt>
                <c:pt idx="63">
                  <c:v>69.280064188432277</c:v>
                </c:pt>
                <c:pt idx="64">
                  <c:v>71.263538316043622</c:v>
                </c:pt>
                <c:pt idx="65">
                  <c:v>73.205280733770834</c:v>
                </c:pt>
                <c:pt idx="66">
                  <c:v>75.102231765154485</c:v>
                </c:pt>
                <c:pt idx="67">
                  <c:v>76.957836397058998</c:v>
                </c:pt>
                <c:pt idx="68">
                  <c:v>78.76876640556118</c:v>
                </c:pt>
                <c:pt idx="69">
                  <c:v>80.525595400743384</c:v>
                </c:pt>
                <c:pt idx="70">
                  <c:v>82.218700167724251</c:v>
                </c:pt>
                <c:pt idx="71">
                  <c:v>83.848868338755267</c:v>
                </c:pt>
                <c:pt idx="72">
                  <c:v>85.400039040332828</c:v>
                </c:pt>
                <c:pt idx="73">
                  <c:v>86.866815852143375</c:v>
                </c:pt>
                <c:pt idx="74">
                  <c:v>88.237443530037126</c:v>
                </c:pt>
                <c:pt idx="75">
                  <c:v>89.514260748015118</c:v>
                </c:pt>
                <c:pt idx="76">
                  <c:v>90.691863697610628</c:v>
                </c:pt>
                <c:pt idx="77">
                  <c:v>91.76446730484048</c:v>
                </c:pt>
                <c:pt idx="78">
                  <c:v>92.724519284172203</c:v>
                </c:pt>
                <c:pt idx="79">
                  <c:v>93.565699071101548</c:v>
                </c:pt>
                <c:pt idx="80">
                  <c:v>94.286706728742487</c:v>
                </c:pt>
                <c:pt idx="81">
                  <c:v>94.884985415558489</c:v>
                </c:pt>
                <c:pt idx="82">
                  <c:v>95.357587827086235</c:v>
                </c:pt>
                <c:pt idx="83">
                  <c:v>95.701638266022741</c:v>
                </c:pt>
                <c:pt idx="84">
                  <c:v>95.916213883527433</c:v>
                </c:pt>
                <c:pt idx="85">
                  <c:v>96.000817274951288</c:v>
                </c:pt>
                <c:pt idx="86">
                  <c:v>95.955558126924728</c:v>
                </c:pt>
                <c:pt idx="87">
                  <c:v>95.780879003782289</c:v>
                </c:pt>
                <c:pt idx="88">
                  <c:v>95.478183387433646</c:v>
                </c:pt>
                <c:pt idx="89">
                  <c:v>95.049208800131893</c:v>
                </c:pt>
                <c:pt idx="90">
                  <c:v>94.49610123342076</c:v>
                </c:pt>
                <c:pt idx="91">
                  <c:v>93.821859935432286</c:v>
                </c:pt>
                <c:pt idx="92">
                  <c:v>93.03015729752434</c:v>
                </c:pt>
                <c:pt idx="93">
                  <c:v>92.125031077040575</c:v>
                </c:pt>
                <c:pt idx="94">
                  <c:v>91.110900127059494</c:v>
                </c:pt>
                <c:pt idx="95">
                  <c:v>89.9926327365949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1</c:v>
                </c:pt>
                <c:pt idx="12">
                  <c:v>1</c:v>
                </c:pt>
                <c:pt idx="13">
                  <c:v>0</c:v>
                </c:pt>
                <c:pt idx="14">
                  <c:v>1</c:v>
                </c:pt>
                <c:pt idx="15">
                  <c:v>1</c:v>
                </c:pt>
                <c:pt idx="16">
                  <c:v>2</c:v>
                </c:pt>
                <c:pt idx="17">
                  <c:v>3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5</c:v>
                </c:pt>
                <c:pt idx="22">
                  <c:v>4</c:v>
                </c:pt>
                <c:pt idx="23">
                  <c:v>5</c:v>
                </c:pt>
                <c:pt idx="24">
                  <c:v>5</c:v>
                </c:pt>
                <c:pt idx="25">
                  <c:v>6</c:v>
                </c:pt>
                <c:pt idx="26">
                  <c:v>5</c:v>
                </c:pt>
                <c:pt idx="27">
                  <c:v>6</c:v>
                </c:pt>
                <c:pt idx="28">
                  <c:v>7</c:v>
                </c:pt>
                <c:pt idx="29">
                  <c:v>8</c:v>
                </c:pt>
                <c:pt idx="30">
                  <c:v>8</c:v>
                </c:pt>
                <c:pt idx="31">
                  <c:v>10</c:v>
                </c:pt>
                <c:pt idx="32">
                  <c:v>10</c:v>
                </c:pt>
                <c:pt idx="33">
                  <c:v>7</c:v>
                </c:pt>
                <c:pt idx="34">
                  <c:v>5</c:v>
                </c:pt>
                <c:pt idx="35">
                  <c:v>4</c:v>
                </c:pt>
                <c:pt idx="36">
                  <c:v>5</c:v>
                </c:pt>
                <c:pt idx="37">
                  <c:v>5</c:v>
                </c:pt>
                <c:pt idx="38">
                  <c:v>8</c:v>
                </c:pt>
                <c:pt idx="39">
                  <c:v>6</c:v>
                </c:pt>
                <c:pt idx="40">
                  <c:v>7</c:v>
                </c:pt>
                <c:pt idx="41">
                  <c:v>5</c:v>
                </c:pt>
                <c:pt idx="42">
                  <c:v>9</c:v>
                </c:pt>
                <c:pt idx="43">
                  <c:v>11</c:v>
                </c:pt>
                <c:pt idx="44">
                  <c:v>14</c:v>
                </c:pt>
                <c:pt idx="45">
                  <c:v>19</c:v>
                </c:pt>
                <c:pt idx="46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7.6551796896241164</c:v>
                </c:pt>
                <c:pt idx="43">
                  <c:v>8.0400821761807126</c:v>
                </c:pt>
                <c:pt idx="44">
                  <c:v>8.4144977871969999</c:v>
                </c:pt>
                <c:pt idx="45">
                  <c:v>8.7641473443489524</c:v>
                </c:pt>
                <c:pt idx="46">
                  <c:v>9.107574207790794</c:v>
                </c:pt>
                <c:pt idx="47">
                  <c:v>9.4511549121528322</c:v>
                </c:pt>
                <c:pt idx="48">
                  <c:v>9.7919584566180404</c:v>
                </c:pt>
                <c:pt idx="49">
                  <c:v>10.120057277092638</c:v>
                </c:pt>
                <c:pt idx="50">
                  <c:v>10.41156484823323</c:v>
                </c:pt>
                <c:pt idx="51">
                  <c:v>10.701016729204898</c:v>
                </c:pt>
                <c:pt idx="52">
                  <c:v>10.985138434784114</c:v>
                </c:pt>
                <c:pt idx="53">
                  <c:v>11.26693501476986</c:v>
                </c:pt>
                <c:pt idx="54">
                  <c:v>11.519082664925119</c:v>
                </c:pt>
                <c:pt idx="55">
                  <c:v>11.762147588248684</c:v>
                </c:pt>
                <c:pt idx="56">
                  <c:v>12.004669815238053</c:v>
                </c:pt>
                <c:pt idx="57">
                  <c:v>12.232653946217749</c:v>
                </c:pt>
                <c:pt idx="58">
                  <c:v>12.446104300428871</c:v>
                </c:pt>
                <c:pt idx="59">
                  <c:v>12.647816514746133</c:v>
                </c:pt>
                <c:pt idx="60">
                  <c:v>12.847947036492416</c:v>
                </c:pt>
                <c:pt idx="61">
                  <c:v>13.030138649117596</c:v>
                </c:pt>
                <c:pt idx="62">
                  <c:v>13.198389645567371</c:v>
                </c:pt>
                <c:pt idx="63">
                  <c:v>13.354798224788514</c:v>
                </c:pt>
                <c:pt idx="64">
                  <c:v>13.505095480791322</c:v>
                </c:pt>
                <c:pt idx="65">
                  <c:v>13.639738811475342</c:v>
                </c:pt>
                <c:pt idx="66">
                  <c:v>13.760635501513976</c:v>
                </c:pt>
                <c:pt idx="67">
                  <c:v>13.870783223241281</c:v>
                </c:pt>
                <c:pt idx="68">
                  <c:v>13.96999997176891</c:v>
                </c:pt>
                <c:pt idx="69">
                  <c:v>14.057019032920715</c:v>
                </c:pt>
                <c:pt idx="70">
                  <c:v>14.131305866097712</c:v>
                </c:pt>
                <c:pt idx="71">
                  <c:v>14.196175310780916</c:v>
                </c:pt>
                <c:pt idx="72">
                  <c:v>14.248642044284638</c:v>
                </c:pt>
                <c:pt idx="73">
                  <c:v>14.288400335629696</c:v>
                </c:pt>
                <c:pt idx="74">
                  <c:v>14.314158273295792</c:v>
                </c:pt>
                <c:pt idx="75">
                  <c:v>14.327963440602225</c:v>
                </c:pt>
                <c:pt idx="76">
                  <c:v>14.329705852577924</c:v>
                </c:pt>
                <c:pt idx="77">
                  <c:v>14.319465209985527</c:v>
                </c:pt>
                <c:pt idx="78">
                  <c:v>14.296868814995882</c:v>
                </c:pt>
                <c:pt idx="79">
                  <c:v>14.2617271965527</c:v>
                </c:pt>
                <c:pt idx="80">
                  <c:v>14.214496939398915</c:v>
                </c:pt>
                <c:pt idx="81">
                  <c:v>14.155517171670667</c:v>
                </c:pt>
                <c:pt idx="82">
                  <c:v>14.084921091322379</c:v>
                </c:pt>
                <c:pt idx="83">
                  <c:v>14.002745672968024</c:v>
                </c:pt>
                <c:pt idx="84">
                  <c:v>13.909332249890173</c:v>
                </c:pt>
                <c:pt idx="85">
                  <c:v>13.80501460365879</c:v>
                </c:pt>
                <c:pt idx="86">
                  <c:v>13.69014102457469</c:v>
                </c:pt>
                <c:pt idx="87">
                  <c:v>13.564994632526608</c:v>
                </c:pt>
                <c:pt idx="88">
                  <c:v>13.429967212380308</c:v>
                </c:pt>
                <c:pt idx="89">
                  <c:v>13.285429519059761</c:v>
                </c:pt>
                <c:pt idx="90">
                  <c:v>13.131750600417005</c:v>
                </c:pt>
                <c:pt idx="91">
                  <c:v>12.969348454536441</c:v>
                </c:pt>
                <c:pt idx="92">
                  <c:v>12.798683036714705</c:v>
                </c:pt>
                <c:pt idx="93">
                  <c:v>12.620207712485843</c:v>
                </c:pt>
                <c:pt idx="94">
                  <c:v>12.434375908042359</c:v>
                </c:pt>
                <c:pt idx="95">
                  <c:v>12.2416565568818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7.6693824018510526</c:v>
                </c:pt>
                <c:pt idx="43">
                  <c:v>8.0741799701809978</c:v>
                </c:pt>
                <c:pt idx="44">
                  <c:v>8.4749948615718935</c:v>
                </c:pt>
                <c:pt idx="45">
                  <c:v>8.8582206403983861</c:v>
                </c:pt>
                <c:pt idx="46">
                  <c:v>9.2428153924807184</c:v>
                </c:pt>
                <c:pt idx="47">
                  <c:v>9.6357926434215369</c:v>
                </c:pt>
                <c:pt idx="48">
                  <c:v>10.034416616211969</c:v>
                </c:pt>
                <c:pt idx="49">
                  <c:v>10.429110363713152</c:v>
                </c:pt>
                <c:pt idx="50">
                  <c:v>10.795993018029863</c:v>
                </c:pt>
                <c:pt idx="51">
                  <c:v>11.169811071139977</c:v>
                </c:pt>
                <c:pt idx="52">
                  <c:v>11.547211702975259</c:v>
                </c:pt>
                <c:pt idx="53">
                  <c:v>11.930995807180951</c:v>
                </c:pt>
                <c:pt idx="54">
                  <c:v>12.293603595633884</c:v>
                </c:pt>
                <c:pt idx="55">
                  <c:v>12.655300697935699</c:v>
                </c:pt>
                <c:pt idx="56">
                  <c:v>13.024305174900457</c:v>
                </c:pt>
                <c:pt idx="57">
                  <c:v>13.386106284006974</c:v>
                </c:pt>
                <c:pt idx="58">
                  <c:v>13.740221259313058</c:v>
                </c:pt>
                <c:pt idx="59">
                  <c:v>14.088668922258128</c:v>
                </c:pt>
                <c:pt idx="60">
                  <c:v>14.441168367744538</c:v>
                </c:pt>
                <c:pt idx="61">
                  <c:v>14.780460315107636</c:v>
                </c:pt>
                <c:pt idx="62">
                  <c:v>15.109927701969863</c:v>
                </c:pt>
                <c:pt idx="63">
                  <c:v>15.431017380554675</c:v>
                </c:pt>
                <c:pt idx="64">
                  <c:v>15.748758682780625</c:v>
                </c:pt>
                <c:pt idx="65">
                  <c:v>16.052774204619794</c:v>
                </c:pt>
                <c:pt idx="66">
                  <c:v>16.344266024891784</c:v>
                </c:pt>
                <c:pt idx="67">
                  <c:v>16.62556592265614</c:v>
                </c:pt>
                <c:pt idx="68">
                  <c:v>16.895756620945292</c:v>
                </c:pt>
                <c:pt idx="69">
                  <c:v>17.152840274112059</c:v>
                </c:pt>
                <c:pt idx="70">
                  <c:v>17.395514218404763</c:v>
                </c:pt>
                <c:pt idx="71">
                  <c:v>17.626376629155864</c:v>
                </c:pt>
                <c:pt idx="72">
                  <c:v>17.841671722927725</c:v>
                </c:pt>
                <c:pt idx="73">
                  <c:v>18.0404102701693</c:v>
                </c:pt>
                <c:pt idx="74">
                  <c:v>18.220619134241609</c:v>
                </c:pt>
                <c:pt idx="75">
                  <c:v>18.38375067501018</c:v>
                </c:pt>
                <c:pt idx="76">
                  <c:v>18.52909199511501</c:v>
                </c:pt>
                <c:pt idx="77">
                  <c:v>18.656153604608704</c:v>
                </c:pt>
                <c:pt idx="78">
                  <c:v>18.76399993906891</c:v>
                </c:pt>
                <c:pt idx="79">
                  <c:v>18.851937131936747</c:v>
                </c:pt>
                <c:pt idx="80">
                  <c:v>18.919991322391272</c:v>
                </c:pt>
                <c:pt idx="81">
                  <c:v>18.968097987505836</c:v>
                </c:pt>
                <c:pt idx="82">
                  <c:v>18.996034654748339</c:v>
                </c:pt>
                <c:pt idx="83">
                  <c:v>19.003531792464187</c:v>
                </c:pt>
                <c:pt idx="84">
                  <c:v>18.990673515970144</c:v>
                </c:pt>
                <c:pt idx="85">
                  <c:v>18.957587224908657</c:v>
                </c:pt>
                <c:pt idx="86">
                  <c:v>18.90446575865689</c:v>
                </c:pt>
                <c:pt idx="87">
                  <c:v>18.831487953073776</c:v>
                </c:pt>
                <c:pt idx="88">
                  <c:v>18.738991560672371</c:v>
                </c:pt>
                <c:pt idx="89">
                  <c:v>18.627342459075926</c:v>
                </c:pt>
                <c:pt idx="90">
                  <c:v>18.496952391370844</c:v>
                </c:pt>
                <c:pt idx="91">
                  <c:v>18.348328006529275</c:v>
                </c:pt>
                <c:pt idx="92">
                  <c:v>18.182062164163248</c:v>
                </c:pt>
                <c:pt idx="93">
                  <c:v>17.998783156034456</c:v>
                </c:pt>
                <c:pt idx="94">
                  <c:v>17.799158694552311</c:v>
                </c:pt>
                <c:pt idx="95">
                  <c:v>17.5839078345017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7.6836658174000831</c:v>
                </c:pt>
                <c:pt idx="43">
                  <c:v>8.1085708849078237</c:v>
                </c:pt>
                <c:pt idx="44">
                  <c:v>8.5362223520944944</c:v>
                </c:pt>
                <c:pt idx="45">
                  <c:v>8.9538017284489655</c:v>
                </c:pt>
                <c:pt idx="46">
                  <c:v>9.3808158379573516</c:v>
                </c:pt>
                <c:pt idx="47">
                  <c:v>9.8250668737400151</c:v>
                </c:pt>
                <c:pt idx="48">
                  <c:v>10.284178604127746</c:v>
                </c:pt>
                <c:pt idx="49">
                  <c:v>10.749100595222759</c:v>
                </c:pt>
                <c:pt idx="50">
                  <c:v>11.196139915848445</c:v>
                </c:pt>
                <c:pt idx="51">
                  <c:v>11.660441291751411</c:v>
                </c:pt>
                <c:pt idx="52">
                  <c:v>12.138760341013288</c:v>
                </c:pt>
                <c:pt idx="53">
                  <c:v>12.633874855184697</c:v>
                </c:pt>
                <c:pt idx="54">
                  <c:v>13.118160085610931</c:v>
                </c:pt>
                <c:pt idx="55">
                  <c:v>13.611737855141365</c:v>
                </c:pt>
                <c:pt idx="56">
                  <c:v>14.122644279322571</c:v>
                </c:pt>
                <c:pt idx="57">
                  <c:v>14.635970983676787</c:v>
                </c:pt>
                <c:pt idx="58">
                  <c:v>15.150841275065158</c:v>
                </c:pt>
                <c:pt idx="59">
                  <c:v>15.668561065194222</c:v>
                </c:pt>
                <c:pt idx="60">
                  <c:v>16.198444377381175</c:v>
                </c:pt>
                <c:pt idx="61">
                  <c:v>16.722325339335676</c:v>
                </c:pt>
                <c:pt idx="62">
                  <c:v>17.242929625537361</c:v>
                </c:pt>
                <c:pt idx="63">
                  <c:v>17.76097206101943</c:v>
                </c:pt>
                <c:pt idx="64">
                  <c:v>18.280660200862055</c:v>
                </c:pt>
                <c:pt idx="65">
                  <c:v>18.790624409127261</c:v>
                </c:pt>
                <c:pt idx="66">
                  <c:v>19.29116814080788</c:v>
                </c:pt>
                <c:pt idx="67">
                  <c:v>19.783726210783634</c:v>
                </c:pt>
                <c:pt idx="68">
                  <c:v>20.266379520335406</c:v>
                </c:pt>
                <c:pt idx="69">
                  <c:v>20.736099889676616</c:v>
                </c:pt>
                <c:pt idx="70">
                  <c:v>21.190487862690258</c:v>
                </c:pt>
                <c:pt idx="71">
                  <c:v>21.631070724945744</c:v>
                </c:pt>
                <c:pt idx="72">
                  <c:v>22.052947433667669</c:v>
                </c:pt>
                <c:pt idx="73">
                  <c:v>22.454054802897332</c:v>
                </c:pt>
                <c:pt idx="74">
                  <c:v>22.831336591336893</c:v>
                </c:pt>
                <c:pt idx="75">
                  <c:v>23.185241902150707</c:v>
                </c:pt>
                <c:pt idx="76">
                  <c:v>23.514045989310297</c:v>
                </c:pt>
                <c:pt idx="77">
                  <c:v>23.816285739188537</c:v>
                </c:pt>
                <c:pt idx="78">
                  <c:v>24.090068225233509</c:v>
                </c:pt>
                <c:pt idx="79">
                  <c:v>24.333816120069113</c:v>
                </c:pt>
                <c:pt idx="80">
                  <c:v>24.54676672027005</c:v>
                </c:pt>
                <c:pt idx="81">
                  <c:v>24.728118734998528</c:v>
                </c:pt>
                <c:pt idx="82">
                  <c:v>24.876990479841442</c:v>
                </c:pt>
                <c:pt idx="83">
                  <c:v>24.9925359238342</c:v>
                </c:pt>
                <c:pt idx="84">
                  <c:v>25.074348908781012</c:v>
                </c:pt>
                <c:pt idx="85">
                  <c:v>25.122157140517047</c:v>
                </c:pt>
                <c:pt idx="86">
                  <c:v>25.135846694575719</c:v>
                </c:pt>
                <c:pt idx="87">
                  <c:v>25.115384448325109</c:v>
                </c:pt>
                <c:pt idx="88">
                  <c:v>25.060991019105526</c:v>
                </c:pt>
                <c:pt idx="89">
                  <c:v>24.973009110319722</c:v>
                </c:pt>
                <c:pt idx="90">
                  <c:v>24.851919305125769</c:v>
                </c:pt>
                <c:pt idx="91">
                  <c:v>24.698386536640896</c:v>
                </c:pt>
                <c:pt idx="92">
                  <c:v>24.513248118920458</c:v>
                </c:pt>
                <c:pt idx="93">
                  <c:v>24.297458636932184</c:v>
                </c:pt>
                <c:pt idx="94">
                  <c:v>24.052088690486265</c:v>
                </c:pt>
                <c:pt idx="95">
                  <c:v>23.7783310411372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6">
                  <c:v>2</c:v>
                </c:pt>
                <c:pt idx="7">
                  <c:v>4</c:v>
                </c:pt>
                <c:pt idx="8">
                  <c:v>4</c:v>
                </c:pt>
                <c:pt idx="9">
                  <c:v>4</c:v>
                </c:pt>
                <c:pt idx="10">
                  <c:v>4</c:v>
                </c:pt>
                <c:pt idx="11">
                  <c:v>3</c:v>
                </c:pt>
                <c:pt idx="12">
                  <c:v>3</c:v>
                </c:pt>
                <c:pt idx="13">
                  <c:v>3</c:v>
                </c:pt>
                <c:pt idx="14">
                  <c:v>2</c:v>
                </c:pt>
                <c:pt idx="15">
                  <c:v>3</c:v>
                </c:pt>
                <c:pt idx="16">
                  <c:v>3</c:v>
                </c:pt>
                <c:pt idx="17">
                  <c:v>4</c:v>
                </c:pt>
                <c:pt idx="18">
                  <c:v>5</c:v>
                </c:pt>
                <c:pt idx="19">
                  <c:v>5</c:v>
                </c:pt>
                <c:pt idx="20">
                  <c:v>5</c:v>
                </c:pt>
                <c:pt idx="21">
                  <c:v>5</c:v>
                </c:pt>
                <c:pt idx="22">
                  <c:v>5</c:v>
                </c:pt>
                <c:pt idx="23">
                  <c:v>5</c:v>
                </c:pt>
                <c:pt idx="24">
                  <c:v>6</c:v>
                </c:pt>
                <c:pt idx="25">
                  <c:v>5</c:v>
                </c:pt>
                <c:pt idx="26">
                  <c:v>5</c:v>
                </c:pt>
                <c:pt idx="27">
                  <c:v>6</c:v>
                </c:pt>
                <c:pt idx="28">
                  <c:v>6</c:v>
                </c:pt>
                <c:pt idx="29">
                  <c:v>9</c:v>
                </c:pt>
                <c:pt idx="30">
                  <c:v>10</c:v>
                </c:pt>
                <c:pt idx="31">
                  <c:v>14</c:v>
                </c:pt>
                <c:pt idx="32">
                  <c:v>16</c:v>
                </c:pt>
                <c:pt idx="33">
                  <c:v>16</c:v>
                </c:pt>
                <c:pt idx="34">
                  <c:v>20</c:v>
                </c:pt>
                <c:pt idx="35">
                  <c:v>18</c:v>
                </c:pt>
                <c:pt idx="36">
                  <c:v>20</c:v>
                </c:pt>
                <c:pt idx="37">
                  <c:v>19</c:v>
                </c:pt>
                <c:pt idx="38">
                  <c:v>20</c:v>
                </c:pt>
                <c:pt idx="39">
                  <c:v>19</c:v>
                </c:pt>
                <c:pt idx="40">
                  <c:v>20</c:v>
                </c:pt>
                <c:pt idx="41">
                  <c:v>23</c:v>
                </c:pt>
                <c:pt idx="42">
                  <c:v>21</c:v>
                </c:pt>
                <c:pt idx="43">
                  <c:v>23</c:v>
                </c:pt>
                <c:pt idx="44">
                  <c:v>21</c:v>
                </c:pt>
                <c:pt idx="45">
                  <c:v>22</c:v>
                </c:pt>
                <c:pt idx="46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21.66171072336423</c:v>
                </c:pt>
                <c:pt idx="43">
                  <c:v>22.791401488341961</c:v>
                </c:pt>
                <c:pt idx="44">
                  <c:v>23.885786124441402</c:v>
                </c:pt>
                <c:pt idx="45">
                  <c:v>24.924443545381749</c:v>
                </c:pt>
                <c:pt idx="46">
                  <c:v>25.953071711757104</c:v>
                </c:pt>
                <c:pt idx="47">
                  <c:v>26.987719421409249</c:v>
                </c:pt>
                <c:pt idx="48">
                  <c:v>27.999616169080898</c:v>
                </c:pt>
                <c:pt idx="49">
                  <c:v>28.980239755502382</c:v>
                </c:pt>
                <c:pt idx="50">
                  <c:v>29.874512026840691</c:v>
                </c:pt>
                <c:pt idx="51">
                  <c:v>30.748003865220696</c:v>
                </c:pt>
                <c:pt idx="52">
                  <c:v>31.591893208535701</c:v>
                </c:pt>
                <c:pt idx="53">
                  <c:v>32.425626259723032</c:v>
                </c:pt>
                <c:pt idx="54">
                  <c:v>33.18946217219667</c:v>
                </c:pt>
                <c:pt idx="55">
                  <c:v>33.913305481029475</c:v>
                </c:pt>
                <c:pt idx="56">
                  <c:v>34.625369522165904</c:v>
                </c:pt>
                <c:pt idx="57">
                  <c:v>35.291976042925725</c:v>
                </c:pt>
                <c:pt idx="58">
                  <c:v>35.920857627460762</c:v>
                </c:pt>
                <c:pt idx="59">
                  <c:v>36.507899106089624</c:v>
                </c:pt>
                <c:pt idx="60">
                  <c:v>37.073733852978336</c:v>
                </c:pt>
                <c:pt idx="61">
                  <c:v>37.595996174982872</c:v>
                </c:pt>
                <c:pt idx="62">
                  <c:v>38.073805914228203</c:v>
                </c:pt>
                <c:pt idx="63">
                  <c:v>38.518885894909012</c:v>
                </c:pt>
                <c:pt idx="64">
                  <c:v>38.938122685591452</c:v>
                </c:pt>
                <c:pt idx="65">
                  <c:v>39.312879866247329</c:v>
                </c:pt>
                <c:pt idx="66">
                  <c:v>39.645785211877211</c:v>
                </c:pt>
                <c:pt idx="67">
                  <c:v>39.943851049409588</c:v>
                </c:pt>
                <c:pt idx="68">
                  <c:v>40.209507746961464</c:v>
                </c:pt>
                <c:pt idx="69">
                  <c:v>40.440731436834412</c:v>
                </c:pt>
                <c:pt idx="70">
                  <c:v>40.635599360929731</c:v>
                </c:pt>
                <c:pt idx="71">
                  <c:v>40.800006162537315</c:v>
                </c:pt>
                <c:pt idx="72">
                  <c:v>40.927304399724875</c:v>
                </c:pt>
                <c:pt idx="73">
                  <c:v>41.018218979330896</c:v>
                </c:pt>
                <c:pt idx="74">
                  <c:v>41.068866386319719</c:v>
                </c:pt>
                <c:pt idx="75">
                  <c:v>41.085400776161009</c:v>
                </c:pt>
                <c:pt idx="76">
                  <c:v>41.068180115872124</c:v>
                </c:pt>
                <c:pt idx="77">
                  <c:v>41.017075572307014</c:v>
                </c:pt>
                <c:pt idx="78">
                  <c:v>40.930690896123579</c:v>
                </c:pt>
                <c:pt idx="79">
                  <c:v>40.808081213169515</c:v>
                </c:pt>
                <c:pt idx="80">
                  <c:v>40.651375973843493</c:v>
                </c:pt>
                <c:pt idx="81">
                  <c:v>40.461631644917482</c:v>
                </c:pt>
                <c:pt idx="82">
                  <c:v>40.239248492984153</c:v>
                </c:pt>
                <c:pt idx="83">
                  <c:v>39.984298360946369</c:v>
                </c:pt>
                <c:pt idx="84">
                  <c:v>39.697906858920632</c:v>
                </c:pt>
                <c:pt idx="85">
                  <c:v>39.381109311734562</c:v>
                </c:pt>
                <c:pt idx="86">
                  <c:v>39.034981684160954</c:v>
                </c:pt>
                <c:pt idx="87">
                  <c:v>38.660432582280308</c:v>
                </c:pt>
                <c:pt idx="88">
                  <c:v>38.258675499795373</c:v>
                </c:pt>
                <c:pt idx="89">
                  <c:v>37.830774572158035</c:v>
                </c:pt>
                <c:pt idx="90">
                  <c:v>37.377714507257309</c:v>
                </c:pt>
                <c:pt idx="91">
                  <c:v>36.900739982741769</c:v>
                </c:pt>
                <c:pt idx="92">
                  <c:v>36.401239621357746</c:v>
                </c:pt>
                <c:pt idx="93">
                  <c:v>35.880539599694302</c:v>
                </c:pt>
                <c:pt idx="94">
                  <c:v>35.339940050967613</c:v>
                </c:pt>
                <c:pt idx="95">
                  <c:v>34.7807944229485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21.705378002645777</c:v>
                </c:pt>
                <c:pt idx="43">
                  <c:v>22.896211179474626</c:v>
                </c:pt>
                <c:pt idx="44">
                  <c:v>24.071279134796278</c:v>
                </c:pt>
                <c:pt idx="45">
                  <c:v>25.212017629933783</c:v>
                </c:pt>
                <c:pt idx="46">
                  <c:v>26.365333211643641</c:v>
                </c:pt>
                <c:pt idx="47">
                  <c:v>27.54919916022363</c:v>
                </c:pt>
                <c:pt idx="48">
                  <c:v>28.735171119794728</c:v>
                </c:pt>
                <c:pt idx="49">
                  <c:v>29.91556021471753</c:v>
                </c:pt>
                <c:pt idx="50">
                  <c:v>31.035212305308072</c:v>
                </c:pt>
                <c:pt idx="51">
                  <c:v>32.159802844864601</c:v>
                </c:pt>
                <c:pt idx="52">
                  <c:v>33.280245309827357</c:v>
                </c:pt>
                <c:pt idx="53">
                  <c:v>34.415209700138881</c:v>
                </c:pt>
                <c:pt idx="54">
                  <c:v>35.50432791412203</c:v>
                </c:pt>
                <c:pt idx="55">
                  <c:v>36.576272234156662</c:v>
                </c:pt>
                <c:pt idx="56">
                  <c:v>37.658239106289443</c:v>
                </c:pt>
                <c:pt idx="57">
                  <c:v>38.715135336161772</c:v>
                </c:pt>
                <c:pt idx="58">
                  <c:v>39.753055555118507</c:v>
                </c:pt>
                <c:pt idx="59">
                  <c:v>40.765378414450041</c:v>
                </c:pt>
                <c:pt idx="60">
                  <c:v>41.771249539944151</c:v>
                </c:pt>
                <c:pt idx="61">
                  <c:v>42.745821076427291</c:v>
                </c:pt>
                <c:pt idx="62">
                  <c:v>43.686346573154033</c:v>
                </c:pt>
                <c:pt idx="63">
                  <c:v>44.602779057122333</c:v>
                </c:pt>
                <c:pt idx="64">
                  <c:v>45.499690427212201</c:v>
                </c:pt>
                <c:pt idx="65">
                  <c:v>46.356168558248761</c:v>
                </c:pt>
                <c:pt idx="66">
                  <c:v>47.1727403571211</c:v>
                </c:pt>
                <c:pt idx="67">
                  <c:v>47.954570044702336</c:v>
                </c:pt>
                <c:pt idx="68">
                  <c:v>48.702001451335747</c:v>
                </c:pt>
                <c:pt idx="69">
                  <c:v>49.410948912831515</c:v>
                </c:pt>
                <c:pt idx="70">
                  <c:v>50.077369010831973</c:v>
                </c:pt>
                <c:pt idx="71">
                  <c:v>50.705073060920022</c:v>
                </c:pt>
                <c:pt idx="72">
                  <c:v>51.285289718856802</c:v>
                </c:pt>
                <c:pt idx="73">
                  <c:v>51.816913469379415</c:v>
                </c:pt>
                <c:pt idx="74">
                  <c:v>52.294210256127847</c:v>
                </c:pt>
                <c:pt idx="75">
                  <c:v>52.721695375766672</c:v>
                </c:pt>
                <c:pt idx="76">
                  <c:v>53.098100519621269</c:v>
                </c:pt>
                <c:pt idx="77">
                  <c:v>53.421774520203357</c:v>
                </c:pt>
                <c:pt idx="78">
                  <c:v>53.689758115154433</c:v>
                </c:pt>
                <c:pt idx="79">
                  <c:v>53.8997479603226</c:v>
                </c:pt>
                <c:pt idx="80">
                  <c:v>54.052788652140364</c:v>
                </c:pt>
                <c:pt idx="81">
                  <c:v>54.148892534314356</c:v>
                </c:pt>
                <c:pt idx="82">
                  <c:v>54.18755383128498</c:v>
                </c:pt>
                <c:pt idx="83">
                  <c:v>54.168078855804865</c:v>
                </c:pt>
                <c:pt idx="84">
                  <c:v>54.090968056181964</c:v>
                </c:pt>
                <c:pt idx="85">
                  <c:v>53.956777065812474</c:v>
                </c:pt>
                <c:pt idx="86">
                  <c:v>53.766246218011787</c:v>
                </c:pt>
                <c:pt idx="87">
                  <c:v>53.520092829118241</c:v>
                </c:pt>
                <c:pt idx="88">
                  <c:v>53.219480249285176</c:v>
                </c:pt>
                <c:pt idx="89">
                  <c:v>52.865559561388409</c:v>
                </c:pt>
                <c:pt idx="90">
                  <c:v>52.459533269178905</c:v>
                </c:pt>
                <c:pt idx="91">
                  <c:v>52.002989399220397</c:v>
                </c:pt>
                <c:pt idx="92">
                  <c:v>51.497780791272731</c:v>
                </c:pt>
                <c:pt idx="93">
                  <c:v>50.945812090710277</c:v>
                </c:pt>
                <c:pt idx="94">
                  <c:v>50.349067729914069</c:v>
                </c:pt>
                <c:pt idx="95">
                  <c:v>49.7096793608516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21.749292968250693</c:v>
                </c:pt>
                <c:pt idx="43">
                  <c:v>23.001921526133955</c:v>
                </c:pt>
                <c:pt idx="44">
                  <c:v>24.259015518780391</c:v>
                </c:pt>
                <c:pt idx="45">
                  <c:v>25.504217505099305</c:v>
                </c:pt>
                <c:pt idx="46">
                  <c:v>26.786046502011878</c:v>
                </c:pt>
                <c:pt idx="47">
                  <c:v>28.124853738329598</c:v>
                </c:pt>
                <c:pt idx="48">
                  <c:v>29.493007657083368</c:v>
                </c:pt>
                <c:pt idx="49">
                  <c:v>30.884169561602008</c:v>
                </c:pt>
                <c:pt idx="50">
                  <c:v>32.243639894519987</c:v>
                </c:pt>
                <c:pt idx="51">
                  <c:v>33.637735635214455</c:v>
                </c:pt>
                <c:pt idx="52">
                  <c:v>35.057635318480436</c:v>
                </c:pt>
                <c:pt idx="53">
                  <c:v>36.521738563224801</c:v>
                </c:pt>
                <c:pt idx="54">
                  <c:v>37.969520787494844</c:v>
                </c:pt>
                <c:pt idx="55">
                  <c:v>39.428842874976844</c:v>
                </c:pt>
                <c:pt idx="56">
                  <c:v>40.926251490549674</c:v>
                </c:pt>
                <c:pt idx="57">
                  <c:v>42.42553626485531</c:v>
                </c:pt>
                <c:pt idx="58">
                  <c:v>43.931375563403151</c:v>
                </c:pt>
                <c:pt idx="59">
                  <c:v>45.434774432081028</c:v>
                </c:pt>
                <c:pt idx="60">
                  <c:v>46.953427330268426</c:v>
                </c:pt>
                <c:pt idx="61">
                  <c:v>48.459932552824938</c:v>
                </c:pt>
                <c:pt idx="62">
                  <c:v>49.949495267489056</c:v>
                </c:pt>
                <c:pt idx="63">
                  <c:v>51.430005063953907</c:v>
                </c:pt>
                <c:pt idx="64">
                  <c:v>52.903311393924241</c:v>
                </c:pt>
                <c:pt idx="65">
                  <c:v>54.345714460308585</c:v>
                </c:pt>
                <c:pt idx="66">
                  <c:v>55.755028013486388</c:v>
                </c:pt>
                <c:pt idx="67">
                  <c:v>57.133852590114344</c:v>
                </c:pt>
                <c:pt idx="68">
                  <c:v>58.479634106780992</c:v>
                </c:pt>
                <c:pt idx="69">
                  <c:v>59.785327047447765</c:v>
                </c:pt>
                <c:pt idx="70">
                  <c:v>61.043792913534091</c:v>
                </c:pt>
                <c:pt idx="71">
                  <c:v>62.255720082356156</c:v>
                </c:pt>
                <c:pt idx="72">
                  <c:v>63.409124477659006</c:v>
                </c:pt>
                <c:pt idx="73">
                  <c:v>64.499946897341943</c:v>
                </c:pt>
                <c:pt idx="74">
                  <c:v>65.519457511239608</c:v>
                </c:pt>
                <c:pt idx="75">
                  <c:v>66.46938066301098</c:v>
                </c:pt>
                <c:pt idx="76">
                  <c:v>67.345678289224139</c:v>
                </c:pt>
                <c:pt idx="77">
                  <c:v>68.14405740708338</c:v>
                </c:pt>
                <c:pt idx="78">
                  <c:v>68.858914963422961</c:v>
                </c:pt>
                <c:pt idx="79">
                  <c:v>69.485562258923608</c:v>
                </c:pt>
                <c:pt idx="80">
                  <c:v>70.023000692228877</c:v>
                </c:pt>
                <c:pt idx="81">
                  <c:v>70.469320787900017</c:v>
                </c:pt>
                <c:pt idx="82">
                  <c:v>70.822324752276742</c:v>
                </c:pt>
                <c:pt idx="83">
                  <c:v>71.079869302225106</c:v>
                </c:pt>
                <c:pt idx="84">
                  <c:v>71.24125609648118</c:v>
                </c:pt>
                <c:pt idx="85">
                  <c:v>71.306104561608919</c:v>
                </c:pt>
                <c:pt idx="86">
                  <c:v>71.274485011722106</c:v>
                </c:pt>
                <c:pt idx="87">
                  <c:v>71.146714517594404</c:v>
                </c:pt>
                <c:pt idx="88">
                  <c:v>70.923824064908189</c:v>
                </c:pt>
                <c:pt idx="89">
                  <c:v>70.607095465309328</c:v>
                </c:pt>
                <c:pt idx="90">
                  <c:v>70.198116351528881</c:v>
                </c:pt>
                <c:pt idx="91">
                  <c:v>69.699105080088586</c:v>
                </c:pt>
                <c:pt idx="92">
                  <c:v>69.112779700083081</c:v>
                </c:pt>
                <c:pt idx="93">
                  <c:v>68.442131336240436</c:v>
                </c:pt>
                <c:pt idx="94">
                  <c:v>67.690435452177496</c:v>
                </c:pt>
                <c:pt idx="95">
                  <c:v>66.8613016930141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5C4A8F-A82D-407A-AC26-9CAB5D726B24}" type="datetimeFigureOut">
              <a:rPr lang="cs-CZ" smtClean="0"/>
              <a:t>17.11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B10D70-F12B-49DD-A20E-5FC09239783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3265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.sv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1382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95459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76569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7166835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461243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7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240449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7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150867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08444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44530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08683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7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932071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41377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34749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215245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20329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17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34808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160263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chart" Target="../charts/chart9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87.xml"/><Relationship Id="rId10" Type="http://schemas.openxmlformats.org/officeDocument/2006/relationships/tags" Target="../tags/tag92.xml"/><Relationship Id="rId4" Type="http://schemas.openxmlformats.org/officeDocument/2006/relationships/tags" Target="../tags/tag86.xml"/><Relationship Id="rId9" Type="http://schemas.openxmlformats.org/officeDocument/2006/relationships/tags" Target="../tags/tag9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00.xml"/><Relationship Id="rId3" Type="http://schemas.openxmlformats.org/officeDocument/2006/relationships/tags" Target="../tags/tag95.xml"/><Relationship Id="rId7" Type="http://schemas.openxmlformats.org/officeDocument/2006/relationships/tags" Target="../tags/tag99.xml"/><Relationship Id="rId12" Type="http://schemas.openxmlformats.org/officeDocument/2006/relationships/chart" Target="../charts/chart10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tags" Target="../tags/tag9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97.xml"/><Relationship Id="rId10" Type="http://schemas.openxmlformats.org/officeDocument/2006/relationships/tags" Target="../tags/tag102.xml"/><Relationship Id="rId4" Type="http://schemas.openxmlformats.org/officeDocument/2006/relationships/tags" Target="../tags/tag96.xml"/><Relationship Id="rId9" Type="http://schemas.openxmlformats.org/officeDocument/2006/relationships/tags" Target="../tags/tag10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10.xml"/><Relationship Id="rId3" Type="http://schemas.openxmlformats.org/officeDocument/2006/relationships/tags" Target="../tags/tag105.xml"/><Relationship Id="rId7" Type="http://schemas.openxmlformats.org/officeDocument/2006/relationships/tags" Target="../tags/tag109.xml"/><Relationship Id="rId12" Type="http://schemas.openxmlformats.org/officeDocument/2006/relationships/chart" Target="../charts/chart11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tags" Target="../tags/tag10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07.xml"/><Relationship Id="rId10" Type="http://schemas.openxmlformats.org/officeDocument/2006/relationships/tags" Target="../tags/tag112.xml"/><Relationship Id="rId4" Type="http://schemas.openxmlformats.org/officeDocument/2006/relationships/tags" Target="../tags/tag106.xml"/><Relationship Id="rId9" Type="http://schemas.openxmlformats.org/officeDocument/2006/relationships/tags" Target="../tags/tag11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20.xml"/><Relationship Id="rId3" Type="http://schemas.openxmlformats.org/officeDocument/2006/relationships/tags" Target="../tags/tag115.xml"/><Relationship Id="rId7" Type="http://schemas.openxmlformats.org/officeDocument/2006/relationships/tags" Target="../tags/tag119.xml"/><Relationship Id="rId12" Type="http://schemas.openxmlformats.org/officeDocument/2006/relationships/chart" Target="../charts/chart12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tags" Target="../tags/tag11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17.xml"/><Relationship Id="rId10" Type="http://schemas.openxmlformats.org/officeDocument/2006/relationships/tags" Target="../tags/tag122.xml"/><Relationship Id="rId4" Type="http://schemas.openxmlformats.org/officeDocument/2006/relationships/tags" Target="../tags/tag116.xml"/><Relationship Id="rId9" Type="http://schemas.openxmlformats.org/officeDocument/2006/relationships/tags" Target="../tags/tag12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30.xml"/><Relationship Id="rId3" Type="http://schemas.openxmlformats.org/officeDocument/2006/relationships/tags" Target="../tags/tag125.xml"/><Relationship Id="rId7" Type="http://schemas.openxmlformats.org/officeDocument/2006/relationships/tags" Target="../tags/tag129.xml"/><Relationship Id="rId12" Type="http://schemas.openxmlformats.org/officeDocument/2006/relationships/chart" Target="../charts/chart13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tags" Target="../tags/tag12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27.xml"/><Relationship Id="rId10" Type="http://schemas.openxmlformats.org/officeDocument/2006/relationships/tags" Target="../tags/tag132.xml"/><Relationship Id="rId4" Type="http://schemas.openxmlformats.org/officeDocument/2006/relationships/tags" Target="../tags/tag126.xml"/><Relationship Id="rId9" Type="http://schemas.openxmlformats.org/officeDocument/2006/relationships/tags" Target="../tags/tag13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40.xml"/><Relationship Id="rId3" Type="http://schemas.openxmlformats.org/officeDocument/2006/relationships/tags" Target="../tags/tag135.xml"/><Relationship Id="rId7" Type="http://schemas.openxmlformats.org/officeDocument/2006/relationships/tags" Target="../tags/tag139.xml"/><Relationship Id="rId12" Type="http://schemas.openxmlformats.org/officeDocument/2006/relationships/chart" Target="../charts/chart14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tags" Target="../tags/tag13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37.xml"/><Relationship Id="rId10" Type="http://schemas.openxmlformats.org/officeDocument/2006/relationships/tags" Target="../tags/tag142.xml"/><Relationship Id="rId4" Type="http://schemas.openxmlformats.org/officeDocument/2006/relationships/tags" Target="../tags/tag136.xml"/><Relationship Id="rId9" Type="http://schemas.openxmlformats.org/officeDocument/2006/relationships/tags" Target="../tags/tag141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50.xml"/><Relationship Id="rId3" Type="http://schemas.openxmlformats.org/officeDocument/2006/relationships/tags" Target="../tags/tag145.xml"/><Relationship Id="rId7" Type="http://schemas.openxmlformats.org/officeDocument/2006/relationships/tags" Target="../tags/tag149.xml"/><Relationship Id="rId12" Type="http://schemas.openxmlformats.org/officeDocument/2006/relationships/chart" Target="../charts/chart15.xml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6" Type="http://schemas.openxmlformats.org/officeDocument/2006/relationships/tags" Target="../tags/tag14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47.xml"/><Relationship Id="rId10" Type="http://schemas.openxmlformats.org/officeDocument/2006/relationships/tags" Target="../tags/tag152.xml"/><Relationship Id="rId4" Type="http://schemas.openxmlformats.org/officeDocument/2006/relationships/tags" Target="../tags/tag146.xml"/><Relationship Id="rId9" Type="http://schemas.openxmlformats.org/officeDocument/2006/relationships/tags" Target="../tags/tag15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61.xml"/><Relationship Id="rId3" Type="http://schemas.openxmlformats.org/officeDocument/2006/relationships/tags" Target="../tags/tag156.xml"/><Relationship Id="rId7" Type="http://schemas.openxmlformats.org/officeDocument/2006/relationships/tags" Target="../tags/tag160.xml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tags" Target="../tags/tag159.xml"/><Relationship Id="rId11" Type="http://schemas.openxmlformats.org/officeDocument/2006/relationships/chart" Target="../charts/chart16.xml"/><Relationship Id="rId5" Type="http://schemas.openxmlformats.org/officeDocument/2006/relationships/tags" Target="../tags/tag158.xml"/><Relationship Id="rId10" Type="http://schemas.openxmlformats.org/officeDocument/2006/relationships/slideLayout" Target="../slideLayouts/slideLayout10.xml"/><Relationship Id="rId4" Type="http://schemas.openxmlformats.org/officeDocument/2006/relationships/tags" Target="../tags/tag157.xml"/><Relationship Id="rId9" Type="http://schemas.openxmlformats.org/officeDocument/2006/relationships/tags" Target="../tags/tag16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70.xml"/><Relationship Id="rId3" Type="http://schemas.openxmlformats.org/officeDocument/2006/relationships/tags" Target="../tags/tag165.xml"/><Relationship Id="rId7" Type="http://schemas.openxmlformats.org/officeDocument/2006/relationships/tags" Target="../tags/tag169.xml"/><Relationship Id="rId12" Type="http://schemas.openxmlformats.org/officeDocument/2006/relationships/chart" Target="../charts/chart17.xml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6" Type="http://schemas.openxmlformats.org/officeDocument/2006/relationships/tags" Target="../tags/tag16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67.xml"/><Relationship Id="rId10" Type="http://schemas.openxmlformats.org/officeDocument/2006/relationships/tags" Target="../tags/tag172.xml"/><Relationship Id="rId4" Type="http://schemas.openxmlformats.org/officeDocument/2006/relationships/tags" Target="../tags/tag166.xml"/><Relationship Id="rId9" Type="http://schemas.openxmlformats.org/officeDocument/2006/relationships/tags" Target="../tags/tag17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7.xml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80.xml"/><Relationship Id="rId3" Type="http://schemas.openxmlformats.org/officeDocument/2006/relationships/tags" Target="../tags/tag175.xml"/><Relationship Id="rId7" Type="http://schemas.openxmlformats.org/officeDocument/2006/relationships/tags" Target="../tags/tag179.xml"/><Relationship Id="rId12" Type="http://schemas.openxmlformats.org/officeDocument/2006/relationships/chart" Target="../charts/chart18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77.xml"/><Relationship Id="rId10" Type="http://schemas.openxmlformats.org/officeDocument/2006/relationships/tags" Target="../tags/tag182.xml"/><Relationship Id="rId4" Type="http://schemas.openxmlformats.org/officeDocument/2006/relationships/tags" Target="../tags/tag176.xml"/><Relationship Id="rId9" Type="http://schemas.openxmlformats.org/officeDocument/2006/relationships/tags" Target="../tags/tag181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190.xml"/><Relationship Id="rId3" Type="http://schemas.openxmlformats.org/officeDocument/2006/relationships/tags" Target="../tags/tag185.xml"/><Relationship Id="rId7" Type="http://schemas.openxmlformats.org/officeDocument/2006/relationships/tags" Target="../tags/tag189.xml"/><Relationship Id="rId12" Type="http://schemas.openxmlformats.org/officeDocument/2006/relationships/chart" Target="../charts/chart19.xml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6" Type="http://schemas.openxmlformats.org/officeDocument/2006/relationships/tags" Target="../tags/tag18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87.xml"/><Relationship Id="rId10" Type="http://schemas.openxmlformats.org/officeDocument/2006/relationships/tags" Target="../tags/tag192.xml"/><Relationship Id="rId4" Type="http://schemas.openxmlformats.org/officeDocument/2006/relationships/tags" Target="../tags/tag186.xml"/><Relationship Id="rId9" Type="http://schemas.openxmlformats.org/officeDocument/2006/relationships/tags" Target="../tags/tag191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12" Type="http://schemas.openxmlformats.org/officeDocument/2006/relationships/chart" Target="../charts/chart20.xml"/><Relationship Id="rId2" Type="http://schemas.openxmlformats.org/officeDocument/2006/relationships/tags" Target="../tags/tag194.xml"/><Relationship Id="rId1" Type="http://schemas.openxmlformats.org/officeDocument/2006/relationships/tags" Target="../tags/tag193.xml"/><Relationship Id="rId6" Type="http://schemas.openxmlformats.org/officeDocument/2006/relationships/tags" Target="../tags/tag19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97.xml"/><Relationship Id="rId10" Type="http://schemas.openxmlformats.org/officeDocument/2006/relationships/tags" Target="../tags/tag202.xml"/><Relationship Id="rId4" Type="http://schemas.openxmlformats.org/officeDocument/2006/relationships/tags" Target="../tags/tag196.xml"/><Relationship Id="rId9" Type="http://schemas.openxmlformats.org/officeDocument/2006/relationships/tags" Target="../tags/tag201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210.xml"/><Relationship Id="rId3" Type="http://schemas.openxmlformats.org/officeDocument/2006/relationships/tags" Target="../tags/tag205.xml"/><Relationship Id="rId7" Type="http://schemas.openxmlformats.org/officeDocument/2006/relationships/tags" Target="../tags/tag209.xml"/><Relationship Id="rId12" Type="http://schemas.openxmlformats.org/officeDocument/2006/relationships/chart" Target="../charts/chart21.xml"/><Relationship Id="rId2" Type="http://schemas.openxmlformats.org/officeDocument/2006/relationships/tags" Target="../tags/tag204.xml"/><Relationship Id="rId1" Type="http://schemas.openxmlformats.org/officeDocument/2006/relationships/tags" Target="../tags/tag203.xml"/><Relationship Id="rId6" Type="http://schemas.openxmlformats.org/officeDocument/2006/relationships/tags" Target="../tags/tag20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07.xml"/><Relationship Id="rId10" Type="http://schemas.openxmlformats.org/officeDocument/2006/relationships/tags" Target="../tags/tag212.xml"/><Relationship Id="rId4" Type="http://schemas.openxmlformats.org/officeDocument/2006/relationships/tags" Target="../tags/tag206.xml"/><Relationship Id="rId9" Type="http://schemas.openxmlformats.org/officeDocument/2006/relationships/tags" Target="../tags/tag211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220.xml"/><Relationship Id="rId3" Type="http://schemas.openxmlformats.org/officeDocument/2006/relationships/tags" Target="../tags/tag215.xml"/><Relationship Id="rId7" Type="http://schemas.openxmlformats.org/officeDocument/2006/relationships/tags" Target="../tags/tag219.xml"/><Relationship Id="rId12" Type="http://schemas.openxmlformats.org/officeDocument/2006/relationships/chart" Target="../charts/chart22.xml"/><Relationship Id="rId2" Type="http://schemas.openxmlformats.org/officeDocument/2006/relationships/tags" Target="../tags/tag214.xml"/><Relationship Id="rId1" Type="http://schemas.openxmlformats.org/officeDocument/2006/relationships/tags" Target="../tags/tag213.xml"/><Relationship Id="rId6" Type="http://schemas.openxmlformats.org/officeDocument/2006/relationships/tags" Target="../tags/tag21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17.xml"/><Relationship Id="rId10" Type="http://schemas.openxmlformats.org/officeDocument/2006/relationships/tags" Target="../tags/tag222.xml"/><Relationship Id="rId4" Type="http://schemas.openxmlformats.org/officeDocument/2006/relationships/tags" Target="../tags/tag216.xml"/><Relationship Id="rId9" Type="http://schemas.openxmlformats.org/officeDocument/2006/relationships/tags" Target="../tags/tag221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230.xml"/><Relationship Id="rId3" Type="http://schemas.openxmlformats.org/officeDocument/2006/relationships/tags" Target="../tags/tag225.xml"/><Relationship Id="rId7" Type="http://schemas.openxmlformats.org/officeDocument/2006/relationships/tags" Target="../tags/tag229.xml"/><Relationship Id="rId12" Type="http://schemas.openxmlformats.org/officeDocument/2006/relationships/chart" Target="../charts/chart23.xml"/><Relationship Id="rId2" Type="http://schemas.openxmlformats.org/officeDocument/2006/relationships/tags" Target="../tags/tag224.xml"/><Relationship Id="rId1" Type="http://schemas.openxmlformats.org/officeDocument/2006/relationships/tags" Target="../tags/tag223.xml"/><Relationship Id="rId6" Type="http://schemas.openxmlformats.org/officeDocument/2006/relationships/tags" Target="../tags/tag22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27.xml"/><Relationship Id="rId10" Type="http://schemas.openxmlformats.org/officeDocument/2006/relationships/tags" Target="../tags/tag232.xml"/><Relationship Id="rId4" Type="http://schemas.openxmlformats.org/officeDocument/2006/relationships/tags" Target="../tags/tag226.xml"/><Relationship Id="rId9" Type="http://schemas.openxmlformats.org/officeDocument/2006/relationships/tags" Target="../tags/tag231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240.xml"/><Relationship Id="rId3" Type="http://schemas.openxmlformats.org/officeDocument/2006/relationships/tags" Target="../tags/tag235.xml"/><Relationship Id="rId7" Type="http://schemas.openxmlformats.org/officeDocument/2006/relationships/tags" Target="../tags/tag239.xml"/><Relationship Id="rId12" Type="http://schemas.openxmlformats.org/officeDocument/2006/relationships/chart" Target="../charts/chart24.xml"/><Relationship Id="rId2" Type="http://schemas.openxmlformats.org/officeDocument/2006/relationships/tags" Target="../tags/tag234.xml"/><Relationship Id="rId1" Type="http://schemas.openxmlformats.org/officeDocument/2006/relationships/tags" Target="../tags/tag233.xml"/><Relationship Id="rId6" Type="http://schemas.openxmlformats.org/officeDocument/2006/relationships/tags" Target="../tags/tag23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37.xml"/><Relationship Id="rId10" Type="http://schemas.openxmlformats.org/officeDocument/2006/relationships/tags" Target="../tags/tag242.xml"/><Relationship Id="rId4" Type="http://schemas.openxmlformats.org/officeDocument/2006/relationships/tags" Target="../tags/tag236.xml"/><Relationship Id="rId9" Type="http://schemas.openxmlformats.org/officeDocument/2006/relationships/tags" Target="../tags/tag241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250.xml"/><Relationship Id="rId3" Type="http://schemas.openxmlformats.org/officeDocument/2006/relationships/tags" Target="../tags/tag245.xml"/><Relationship Id="rId7" Type="http://schemas.openxmlformats.org/officeDocument/2006/relationships/tags" Target="../tags/tag249.xml"/><Relationship Id="rId12" Type="http://schemas.openxmlformats.org/officeDocument/2006/relationships/chart" Target="../charts/chart25.xml"/><Relationship Id="rId2" Type="http://schemas.openxmlformats.org/officeDocument/2006/relationships/tags" Target="../tags/tag244.xml"/><Relationship Id="rId1" Type="http://schemas.openxmlformats.org/officeDocument/2006/relationships/tags" Target="../tags/tag243.xml"/><Relationship Id="rId6" Type="http://schemas.openxmlformats.org/officeDocument/2006/relationships/tags" Target="../tags/tag24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47.xml"/><Relationship Id="rId10" Type="http://schemas.openxmlformats.org/officeDocument/2006/relationships/tags" Target="../tags/tag252.xml"/><Relationship Id="rId4" Type="http://schemas.openxmlformats.org/officeDocument/2006/relationships/tags" Target="../tags/tag246.xml"/><Relationship Id="rId9" Type="http://schemas.openxmlformats.org/officeDocument/2006/relationships/tags" Target="../tags/tag251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260.xml"/><Relationship Id="rId3" Type="http://schemas.openxmlformats.org/officeDocument/2006/relationships/tags" Target="../tags/tag255.xml"/><Relationship Id="rId7" Type="http://schemas.openxmlformats.org/officeDocument/2006/relationships/tags" Target="../tags/tag259.xml"/><Relationship Id="rId12" Type="http://schemas.openxmlformats.org/officeDocument/2006/relationships/chart" Target="../charts/chart26.xml"/><Relationship Id="rId2" Type="http://schemas.openxmlformats.org/officeDocument/2006/relationships/tags" Target="../tags/tag254.xml"/><Relationship Id="rId1" Type="http://schemas.openxmlformats.org/officeDocument/2006/relationships/tags" Target="../tags/tag253.xml"/><Relationship Id="rId6" Type="http://schemas.openxmlformats.org/officeDocument/2006/relationships/tags" Target="../tags/tag25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57.xml"/><Relationship Id="rId10" Type="http://schemas.openxmlformats.org/officeDocument/2006/relationships/tags" Target="../tags/tag262.xml"/><Relationship Id="rId4" Type="http://schemas.openxmlformats.org/officeDocument/2006/relationships/tags" Target="../tags/tag256.xml"/><Relationship Id="rId9" Type="http://schemas.openxmlformats.org/officeDocument/2006/relationships/tags" Target="../tags/tag261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270.xml"/><Relationship Id="rId3" Type="http://schemas.openxmlformats.org/officeDocument/2006/relationships/tags" Target="../tags/tag265.xml"/><Relationship Id="rId7" Type="http://schemas.openxmlformats.org/officeDocument/2006/relationships/tags" Target="../tags/tag269.xml"/><Relationship Id="rId12" Type="http://schemas.openxmlformats.org/officeDocument/2006/relationships/chart" Target="../charts/chart27.xml"/><Relationship Id="rId2" Type="http://schemas.openxmlformats.org/officeDocument/2006/relationships/tags" Target="../tags/tag264.xml"/><Relationship Id="rId1" Type="http://schemas.openxmlformats.org/officeDocument/2006/relationships/tags" Target="../tags/tag263.xml"/><Relationship Id="rId6" Type="http://schemas.openxmlformats.org/officeDocument/2006/relationships/tags" Target="../tags/tag26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67.xml"/><Relationship Id="rId10" Type="http://schemas.openxmlformats.org/officeDocument/2006/relationships/tags" Target="../tags/tag272.xml"/><Relationship Id="rId4" Type="http://schemas.openxmlformats.org/officeDocument/2006/relationships/tags" Target="../tags/tag266.xml"/><Relationship Id="rId9" Type="http://schemas.openxmlformats.org/officeDocument/2006/relationships/tags" Target="../tags/tag27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chart" Target="../charts/chart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7.xml"/><Relationship Id="rId10" Type="http://schemas.openxmlformats.org/officeDocument/2006/relationships/tags" Target="../tags/tag22.xml"/><Relationship Id="rId4" Type="http://schemas.openxmlformats.org/officeDocument/2006/relationships/tags" Target="../tags/tag16.xml"/><Relationship Id="rId9" Type="http://schemas.openxmlformats.org/officeDocument/2006/relationships/tags" Target="../tags/tag21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280.xml"/><Relationship Id="rId3" Type="http://schemas.openxmlformats.org/officeDocument/2006/relationships/tags" Target="../tags/tag275.xml"/><Relationship Id="rId7" Type="http://schemas.openxmlformats.org/officeDocument/2006/relationships/tags" Target="../tags/tag279.xml"/><Relationship Id="rId12" Type="http://schemas.openxmlformats.org/officeDocument/2006/relationships/chart" Target="../charts/chart28.xml"/><Relationship Id="rId2" Type="http://schemas.openxmlformats.org/officeDocument/2006/relationships/tags" Target="../tags/tag274.xml"/><Relationship Id="rId1" Type="http://schemas.openxmlformats.org/officeDocument/2006/relationships/tags" Target="../tags/tag273.xml"/><Relationship Id="rId6" Type="http://schemas.openxmlformats.org/officeDocument/2006/relationships/tags" Target="../tags/tag27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77.xml"/><Relationship Id="rId10" Type="http://schemas.openxmlformats.org/officeDocument/2006/relationships/tags" Target="../tags/tag282.xml"/><Relationship Id="rId4" Type="http://schemas.openxmlformats.org/officeDocument/2006/relationships/tags" Target="../tags/tag276.xml"/><Relationship Id="rId9" Type="http://schemas.openxmlformats.org/officeDocument/2006/relationships/tags" Target="../tags/tag281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290.xml"/><Relationship Id="rId3" Type="http://schemas.openxmlformats.org/officeDocument/2006/relationships/tags" Target="../tags/tag285.xml"/><Relationship Id="rId7" Type="http://schemas.openxmlformats.org/officeDocument/2006/relationships/tags" Target="../tags/tag289.xml"/><Relationship Id="rId12" Type="http://schemas.openxmlformats.org/officeDocument/2006/relationships/chart" Target="../charts/chart29.xml"/><Relationship Id="rId2" Type="http://schemas.openxmlformats.org/officeDocument/2006/relationships/tags" Target="../tags/tag284.xml"/><Relationship Id="rId1" Type="http://schemas.openxmlformats.org/officeDocument/2006/relationships/tags" Target="../tags/tag283.xml"/><Relationship Id="rId6" Type="http://schemas.openxmlformats.org/officeDocument/2006/relationships/tags" Target="../tags/tag28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87.xml"/><Relationship Id="rId10" Type="http://schemas.openxmlformats.org/officeDocument/2006/relationships/tags" Target="../tags/tag292.xml"/><Relationship Id="rId4" Type="http://schemas.openxmlformats.org/officeDocument/2006/relationships/tags" Target="../tags/tag286.xml"/><Relationship Id="rId9" Type="http://schemas.openxmlformats.org/officeDocument/2006/relationships/tags" Target="../tags/tag291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300.xml"/><Relationship Id="rId3" Type="http://schemas.openxmlformats.org/officeDocument/2006/relationships/tags" Target="../tags/tag295.xml"/><Relationship Id="rId7" Type="http://schemas.openxmlformats.org/officeDocument/2006/relationships/tags" Target="../tags/tag299.xml"/><Relationship Id="rId12" Type="http://schemas.openxmlformats.org/officeDocument/2006/relationships/chart" Target="../charts/chart30.xml"/><Relationship Id="rId2" Type="http://schemas.openxmlformats.org/officeDocument/2006/relationships/tags" Target="../tags/tag294.xml"/><Relationship Id="rId1" Type="http://schemas.openxmlformats.org/officeDocument/2006/relationships/tags" Target="../tags/tag293.xml"/><Relationship Id="rId6" Type="http://schemas.openxmlformats.org/officeDocument/2006/relationships/tags" Target="../tags/tag29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97.xml"/><Relationship Id="rId10" Type="http://schemas.openxmlformats.org/officeDocument/2006/relationships/tags" Target="../tags/tag302.xml"/><Relationship Id="rId4" Type="http://schemas.openxmlformats.org/officeDocument/2006/relationships/tags" Target="../tags/tag296.xml"/><Relationship Id="rId9" Type="http://schemas.openxmlformats.org/officeDocument/2006/relationships/tags" Target="../tags/tag30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chart" Target="../charts/chart3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7.xml"/><Relationship Id="rId10" Type="http://schemas.openxmlformats.org/officeDocument/2006/relationships/tags" Target="../tags/tag32.xml"/><Relationship Id="rId4" Type="http://schemas.openxmlformats.org/officeDocument/2006/relationships/tags" Target="../tags/tag26.xml"/><Relationship Id="rId9" Type="http://schemas.openxmlformats.org/officeDocument/2006/relationships/tags" Target="../tags/tag3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12" Type="http://schemas.openxmlformats.org/officeDocument/2006/relationships/chart" Target="../charts/chart4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37.xml"/><Relationship Id="rId10" Type="http://schemas.openxmlformats.org/officeDocument/2006/relationships/tags" Target="../tags/tag42.xml"/><Relationship Id="rId4" Type="http://schemas.openxmlformats.org/officeDocument/2006/relationships/tags" Target="../tags/tag36.xml"/><Relationship Id="rId9" Type="http://schemas.openxmlformats.org/officeDocument/2006/relationships/tags" Target="../tags/tag4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12" Type="http://schemas.openxmlformats.org/officeDocument/2006/relationships/chart" Target="../charts/chart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47.xml"/><Relationship Id="rId10" Type="http://schemas.openxmlformats.org/officeDocument/2006/relationships/tags" Target="../tags/tag52.xml"/><Relationship Id="rId4" Type="http://schemas.openxmlformats.org/officeDocument/2006/relationships/tags" Target="../tags/tag46.xml"/><Relationship Id="rId9" Type="http://schemas.openxmlformats.org/officeDocument/2006/relationships/tags" Target="../tags/tag5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12" Type="http://schemas.openxmlformats.org/officeDocument/2006/relationships/chart" Target="../charts/chart6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57.xml"/><Relationship Id="rId10" Type="http://schemas.openxmlformats.org/officeDocument/2006/relationships/tags" Target="../tags/tag62.xml"/><Relationship Id="rId4" Type="http://schemas.openxmlformats.org/officeDocument/2006/relationships/tags" Target="../tags/tag56.xml"/><Relationship Id="rId9" Type="http://schemas.openxmlformats.org/officeDocument/2006/relationships/tags" Target="../tags/tag6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3" Type="http://schemas.openxmlformats.org/officeDocument/2006/relationships/tags" Target="../tags/tag65.xml"/><Relationship Id="rId7" Type="http://schemas.openxmlformats.org/officeDocument/2006/relationships/tags" Target="../tags/tag69.xml"/><Relationship Id="rId12" Type="http://schemas.openxmlformats.org/officeDocument/2006/relationships/chart" Target="../charts/chart7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67.xml"/><Relationship Id="rId10" Type="http://schemas.openxmlformats.org/officeDocument/2006/relationships/tags" Target="../tags/tag72.xml"/><Relationship Id="rId4" Type="http://schemas.openxmlformats.org/officeDocument/2006/relationships/tags" Target="../tags/tag66.xml"/><Relationship Id="rId9" Type="http://schemas.openxmlformats.org/officeDocument/2006/relationships/tags" Target="../tags/tag7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chart" Target="../charts/chart8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tags" Target="../tags/tag7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77.xml"/><Relationship Id="rId10" Type="http://schemas.openxmlformats.org/officeDocument/2006/relationships/tags" Target="../tags/tag82.xml"/><Relationship Id="rId4" Type="http://schemas.openxmlformats.org/officeDocument/2006/relationships/tags" Target="../tags/tag76.xml"/><Relationship Id="rId9" Type="http://schemas.openxmlformats.org/officeDocument/2006/relationships/tags" Target="../tags/tag8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očet pacientů s COVID-19 hospitalizovaných na JIP</a:t>
            </a:r>
          </a:p>
        </p:txBody>
      </p:sp>
    </p:spTree>
    <p:extLst>
      <p:ext uri="{BB962C8B-B14F-4D97-AF65-F5344CB8AC3E}">
        <p14:creationId xmlns:p14="http://schemas.microsoft.com/office/powerpoint/2010/main" val="29523395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álovéhrad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254230" y="3518139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52436926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280F3422-34F8-4F37-8D9A-D2641F1BF0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8004149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2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65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99E9F757-C756-498D-9404-0F3DDE9DF7E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969265" y="2981877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9DF0494E-9A0D-459F-9287-086375591C76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73933" y="3835663"/>
            <a:ext cx="2221115" cy="2677656"/>
            <a:chOff x="9993159" y="3767843"/>
            <a:chExt cx="2221115" cy="2677656"/>
          </a:xfrm>
        </p:grpSpPr>
        <p:grpSp>
          <p:nvGrpSpPr>
            <p:cNvPr id="27" name="Skupina 26">
              <a:extLst>
                <a:ext uri="{FF2B5EF4-FFF2-40B4-BE49-F238E27FC236}">
                  <a16:creationId xmlns:a16="http://schemas.microsoft.com/office/drawing/2014/main" id="{C2001398-C650-43D9-8DC7-D6CCB2600D97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3C2F5408-8DF5-4A2E-9AE5-BC19CAE80A3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9E1C4B2B-F2B6-40C2-AF8F-33A064E7FC1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1" name="Obdélník 30">
                <a:extLst>
                  <a:ext uri="{FF2B5EF4-FFF2-40B4-BE49-F238E27FC236}">
                    <a16:creationId xmlns:a16="http://schemas.microsoft.com/office/drawing/2014/main" id="{3304119C-E135-4A28-8A20-1F4B2195F241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2" name="TextovéPole 28">
                <a:extLst>
                  <a:ext uri="{FF2B5EF4-FFF2-40B4-BE49-F238E27FC236}">
                    <a16:creationId xmlns:a16="http://schemas.microsoft.com/office/drawing/2014/main" id="{23414E07-0B60-417E-95E6-D4E08A8F4910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</a:t>
                </a:r>
                <a:r>
                  <a:rPr kumimoji="0" lang="cs-CZ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izikový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94C75D58-7FE7-4A96-B7EE-71AE2EF36186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256718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rdubi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254230" y="3518139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27402452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9C25E34E-1D31-4484-A553-2C1503FB756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7856629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8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1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0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49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8C48AB3D-418D-49DB-A38B-8E2D63F8664B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969265" y="2981877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403A076E-62D5-4EB2-8C47-38629494E80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73933" y="3835663"/>
            <a:ext cx="2221115" cy="2677656"/>
            <a:chOff x="9993159" y="3767843"/>
            <a:chExt cx="2221115" cy="2677656"/>
          </a:xfrm>
        </p:grpSpPr>
        <p:grpSp>
          <p:nvGrpSpPr>
            <p:cNvPr id="30" name="Skupina 29">
              <a:extLst>
                <a:ext uri="{FF2B5EF4-FFF2-40B4-BE49-F238E27FC236}">
                  <a16:creationId xmlns:a16="http://schemas.microsoft.com/office/drawing/2014/main" id="{E330B344-8E7A-4F16-909B-1C9EC4FDA2CE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5002FD98-9518-4E2D-94D8-CB1B7FD88A6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0" name="Přímá spojnice 39">
                <a:extLst>
                  <a:ext uri="{FF2B5EF4-FFF2-40B4-BE49-F238E27FC236}">
                    <a16:creationId xmlns:a16="http://schemas.microsoft.com/office/drawing/2014/main" id="{C0FB9F86-F8F1-47AC-8AB2-3A1505B8575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1" name="Obdélník 40">
                <a:extLst>
                  <a:ext uri="{FF2B5EF4-FFF2-40B4-BE49-F238E27FC236}">
                    <a16:creationId xmlns:a16="http://schemas.microsoft.com/office/drawing/2014/main" id="{AFEA748F-03BD-455A-A805-7267B335B0CD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2" name="TextovéPole 28">
                <a:extLst>
                  <a:ext uri="{FF2B5EF4-FFF2-40B4-BE49-F238E27FC236}">
                    <a16:creationId xmlns:a16="http://schemas.microsoft.com/office/drawing/2014/main" id="{D1D50AEC-8BB1-42E3-B0C3-217DCE5FC92B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</a:t>
                </a:r>
                <a:r>
                  <a:rPr kumimoji="0" lang="cs-CZ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izikový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0C7F6F90-3EC5-4979-82B9-437353946D7D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18189881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aj Vysočin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254230" y="3518139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57066594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9" name="Tabulka 6">
            <a:extLst>
              <a:ext uri="{FF2B5EF4-FFF2-40B4-BE49-F238E27FC236}">
                <a16:creationId xmlns:a16="http://schemas.microsoft.com/office/drawing/2014/main" id="{2F08C787-2E55-4C72-8517-E2B0DAFCB0A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9131932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7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5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50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09F4DF99-A957-48A5-ABA8-B17D8866B48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969265" y="2981877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30" name="Skupina 29">
            <a:extLst>
              <a:ext uri="{FF2B5EF4-FFF2-40B4-BE49-F238E27FC236}">
                <a16:creationId xmlns:a16="http://schemas.microsoft.com/office/drawing/2014/main" id="{FFE9DCAA-3C45-491C-BFCB-685ACCDBB23A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73933" y="3835663"/>
            <a:ext cx="2221115" cy="2677656"/>
            <a:chOff x="9993159" y="3767843"/>
            <a:chExt cx="2221115" cy="2677656"/>
          </a:xfrm>
        </p:grpSpPr>
        <p:grpSp>
          <p:nvGrpSpPr>
            <p:cNvPr id="31" name="Skupina 30">
              <a:extLst>
                <a:ext uri="{FF2B5EF4-FFF2-40B4-BE49-F238E27FC236}">
                  <a16:creationId xmlns:a16="http://schemas.microsoft.com/office/drawing/2014/main" id="{9A9E7A91-DD4F-4B79-BACC-F4ACBB51B721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3" name="Přímá spojnice 32">
                <a:extLst>
                  <a:ext uri="{FF2B5EF4-FFF2-40B4-BE49-F238E27FC236}">
                    <a16:creationId xmlns:a16="http://schemas.microsoft.com/office/drawing/2014/main" id="{E898EB55-A087-48C9-9848-48B63E5D54C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0" name="Přímá spojnice 39">
                <a:extLst>
                  <a:ext uri="{FF2B5EF4-FFF2-40B4-BE49-F238E27FC236}">
                    <a16:creationId xmlns:a16="http://schemas.microsoft.com/office/drawing/2014/main" id="{8F36C037-E3B6-46AA-A9EC-F2D2E0511DC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1" name="Obdélník 40">
                <a:extLst>
                  <a:ext uri="{FF2B5EF4-FFF2-40B4-BE49-F238E27FC236}">
                    <a16:creationId xmlns:a16="http://schemas.microsoft.com/office/drawing/2014/main" id="{F59DCC32-F60A-4E80-8DE1-DEFCA7629B09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2" name="TextovéPole 28">
                <a:extLst>
                  <a:ext uri="{FF2B5EF4-FFF2-40B4-BE49-F238E27FC236}">
                    <a16:creationId xmlns:a16="http://schemas.microsoft.com/office/drawing/2014/main" id="{8F5078BF-FF5A-4833-AB7F-D9897BF4DFF3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</a:t>
                </a:r>
                <a:r>
                  <a:rPr kumimoji="0" lang="cs-CZ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izikový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C10706EE-86AA-49F6-8473-17F639D68C5A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3598042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morav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254230" y="3518139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98557865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D7828AF9-C487-457B-A03D-74EF02FB26A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7075436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4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1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5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5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9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1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8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1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6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47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1BDF17C6-AED4-4551-82C0-DA9EE305F82C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969265" y="2981877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7EC5F836-13FA-4E4F-9650-CA598558FB70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73933" y="3835663"/>
            <a:ext cx="2221115" cy="2677656"/>
            <a:chOff x="9993159" y="3767843"/>
            <a:chExt cx="2221115" cy="2677656"/>
          </a:xfrm>
        </p:grpSpPr>
        <p:grpSp>
          <p:nvGrpSpPr>
            <p:cNvPr id="30" name="Skupina 29">
              <a:extLst>
                <a:ext uri="{FF2B5EF4-FFF2-40B4-BE49-F238E27FC236}">
                  <a16:creationId xmlns:a16="http://schemas.microsoft.com/office/drawing/2014/main" id="{093F0886-5964-4477-9529-D4A6EBBC94CF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2799F0A7-F665-4B44-BA27-5D685C46FA2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0" name="Přímá spojnice 39">
                <a:extLst>
                  <a:ext uri="{FF2B5EF4-FFF2-40B4-BE49-F238E27FC236}">
                    <a16:creationId xmlns:a16="http://schemas.microsoft.com/office/drawing/2014/main" id="{44E2417A-494D-47A5-B697-71C7DF27DF2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1" name="Obdélník 40">
                <a:extLst>
                  <a:ext uri="{FF2B5EF4-FFF2-40B4-BE49-F238E27FC236}">
                    <a16:creationId xmlns:a16="http://schemas.microsoft.com/office/drawing/2014/main" id="{C0120B2A-5188-4EF2-85B4-53173D35B621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2" name="TextovéPole 28">
                <a:extLst>
                  <a:ext uri="{FF2B5EF4-FFF2-40B4-BE49-F238E27FC236}">
                    <a16:creationId xmlns:a16="http://schemas.microsoft.com/office/drawing/2014/main" id="{6C1DEB2F-5E38-4FF1-8AB3-E4640AE63A96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</a:t>
                </a:r>
                <a:r>
                  <a:rPr kumimoji="0" lang="cs-CZ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izikový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A0A14FE2-EA14-43FE-88EE-BEFEDFE514A8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55595679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lomou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254230" y="3518139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77511400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985CF12B-8CFF-4933-8CB1-1DFFC6BFDA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5104067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5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7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61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F4505502-1100-431B-A848-9AC802CCC0A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969265" y="2981877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5BAA9D2C-2CAC-4EAC-ABB3-D861D44E254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73933" y="3835663"/>
            <a:ext cx="2221115" cy="2677656"/>
            <a:chOff x="9993159" y="3767843"/>
            <a:chExt cx="2221115" cy="2677656"/>
          </a:xfrm>
        </p:grpSpPr>
        <p:grpSp>
          <p:nvGrpSpPr>
            <p:cNvPr id="30" name="Skupina 29">
              <a:extLst>
                <a:ext uri="{FF2B5EF4-FFF2-40B4-BE49-F238E27FC236}">
                  <a16:creationId xmlns:a16="http://schemas.microsoft.com/office/drawing/2014/main" id="{73106CB2-7750-43A6-AB7D-6084EB7F2381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BF77BC66-C33A-4954-809B-EBA49CDBA37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0" name="Přímá spojnice 39">
                <a:extLst>
                  <a:ext uri="{FF2B5EF4-FFF2-40B4-BE49-F238E27FC236}">
                    <a16:creationId xmlns:a16="http://schemas.microsoft.com/office/drawing/2014/main" id="{8DC454A8-98D9-43C5-81A6-25C83AFD9C6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1" name="Obdélník 40">
                <a:extLst>
                  <a:ext uri="{FF2B5EF4-FFF2-40B4-BE49-F238E27FC236}">
                    <a16:creationId xmlns:a16="http://schemas.microsoft.com/office/drawing/2014/main" id="{150A2EE4-9B76-4A44-B614-B689BA00FC19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2" name="TextovéPole 28">
                <a:extLst>
                  <a:ext uri="{FF2B5EF4-FFF2-40B4-BE49-F238E27FC236}">
                    <a16:creationId xmlns:a16="http://schemas.microsoft.com/office/drawing/2014/main" id="{30D66552-7AB6-4D23-B305-5521472555B2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</a:t>
                </a:r>
                <a:r>
                  <a:rPr kumimoji="0" lang="cs-CZ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izikový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32B7997F-DBFB-4361-9123-546927FA81AB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28357869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lín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254230" y="3518139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40586931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55AF8F28-B3CD-4F12-AE34-EFE44597F2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1766925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6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4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4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61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52069848-8C0C-419B-88FF-A87EA615094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969265" y="2981877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BF279FB1-E13A-43FA-AE21-C358D80B34A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73933" y="3835663"/>
            <a:ext cx="2221115" cy="2677656"/>
            <a:chOff x="9993159" y="3767843"/>
            <a:chExt cx="2221115" cy="2677656"/>
          </a:xfrm>
        </p:grpSpPr>
        <p:grpSp>
          <p:nvGrpSpPr>
            <p:cNvPr id="30" name="Skupina 29">
              <a:extLst>
                <a:ext uri="{FF2B5EF4-FFF2-40B4-BE49-F238E27FC236}">
                  <a16:creationId xmlns:a16="http://schemas.microsoft.com/office/drawing/2014/main" id="{55B61C93-8ADB-474E-BF26-CFF356AC1D7C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552542F5-916E-4B12-BBAF-FB46D4FCC02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0" name="Přímá spojnice 39">
                <a:extLst>
                  <a:ext uri="{FF2B5EF4-FFF2-40B4-BE49-F238E27FC236}">
                    <a16:creationId xmlns:a16="http://schemas.microsoft.com/office/drawing/2014/main" id="{8451DA84-33E6-4341-9040-654FB5DEDD5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1" name="Obdélník 40">
                <a:extLst>
                  <a:ext uri="{FF2B5EF4-FFF2-40B4-BE49-F238E27FC236}">
                    <a16:creationId xmlns:a16="http://schemas.microsoft.com/office/drawing/2014/main" id="{E1902C3F-35E6-4D75-A682-0B5A3E8164D1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2" name="TextovéPole 28">
                <a:extLst>
                  <a:ext uri="{FF2B5EF4-FFF2-40B4-BE49-F238E27FC236}">
                    <a16:creationId xmlns:a16="http://schemas.microsoft.com/office/drawing/2014/main" id="{E27350A8-D9B0-4BB1-AE0C-C560235C9365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</a:t>
                </a:r>
                <a:r>
                  <a:rPr kumimoji="0" lang="cs-CZ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izikový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780F16E3-346D-4B09-8C88-9E6E8BE0B06A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59502039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ravskoslez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254230" y="3518139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57376300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444762BF-A490-4B89-89A4-00C00EAEF4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7697426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6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7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2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4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0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56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DB21B0FE-C5DF-4A63-A0AB-3A0A1CBA12E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969265" y="2981877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2CE74A6F-4A3C-42FC-BFB3-6698587F41A9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73933" y="3835663"/>
            <a:ext cx="2221115" cy="2677656"/>
            <a:chOff x="9993159" y="3767843"/>
            <a:chExt cx="2221115" cy="2677656"/>
          </a:xfrm>
        </p:grpSpPr>
        <p:grpSp>
          <p:nvGrpSpPr>
            <p:cNvPr id="30" name="Skupina 29">
              <a:extLst>
                <a:ext uri="{FF2B5EF4-FFF2-40B4-BE49-F238E27FC236}">
                  <a16:creationId xmlns:a16="http://schemas.microsoft.com/office/drawing/2014/main" id="{AF10DE35-DC74-456F-A3E7-9B1F6AC79CE9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94DF80CC-6892-43CC-943A-245041F95AD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0" name="Přímá spojnice 39">
                <a:extLst>
                  <a:ext uri="{FF2B5EF4-FFF2-40B4-BE49-F238E27FC236}">
                    <a16:creationId xmlns:a16="http://schemas.microsoft.com/office/drawing/2014/main" id="{72D0D7EB-15F0-4D67-8E82-A8CD2FA3E28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1" name="Obdélník 40">
                <a:extLst>
                  <a:ext uri="{FF2B5EF4-FFF2-40B4-BE49-F238E27FC236}">
                    <a16:creationId xmlns:a16="http://schemas.microsoft.com/office/drawing/2014/main" id="{C779673F-35A9-41FD-A1F9-ADD0FDFD541A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2" name="TextovéPole 28">
                <a:extLst>
                  <a:ext uri="{FF2B5EF4-FFF2-40B4-BE49-F238E27FC236}">
                    <a16:creationId xmlns:a16="http://schemas.microsoft.com/office/drawing/2014/main" id="{E4D2E328-33B1-4CBB-AF56-6A6CFEFA2484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</a:t>
                </a:r>
                <a:r>
                  <a:rPr kumimoji="0" lang="cs-CZ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izikový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228CE080-86A9-4C34-8F51-7C1E654C799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54106202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0" y="3905251"/>
            <a:ext cx="12191999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Kumulativní počet nových případů vyžadujících intenzivní péči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309405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13341438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pSp>
        <p:nvGrpSpPr>
          <p:cNvPr id="17" name="Skupina 16">
            <a:extLst>
              <a:ext uri="{FF2B5EF4-FFF2-40B4-BE49-F238E27FC236}">
                <a16:creationId xmlns:a16="http://schemas.microsoft.com/office/drawing/2014/main" id="{8DC6611C-3D98-42AF-95F3-026605AA55F8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993159" y="3767843"/>
            <a:ext cx="2148963" cy="2677656"/>
            <a:chOff x="9993159" y="3767843"/>
            <a:chExt cx="2148963" cy="2677656"/>
          </a:xfrm>
        </p:grpSpPr>
        <p:grpSp>
          <p:nvGrpSpPr>
            <p:cNvPr id="18" name="Skupina 17">
              <a:extLst>
                <a:ext uri="{FF2B5EF4-FFF2-40B4-BE49-F238E27FC236}">
                  <a16:creationId xmlns:a16="http://schemas.microsoft.com/office/drawing/2014/main" id="{16ED984C-73AE-4082-A9A7-4B2D49F24280}"/>
                </a:ext>
              </a:extLst>
            </p:cNvPr>
            <p:cNvGrpSpPr/>
            <p:nvPr>
              <p:custDataLst>
                <p:tags r:id="rId8"/>
              </p:custDataLst>
            </p:nvPr>
          </p:nvGrpSpPr>
          <p:grpSpPr>
            <a:xfrm>
              <a:off x="9993159" y="3767843"/>
              <a:ext cx="2148963" cy="2677656"/>
              <a:chOff x="10258697" y="3526984"/>
              <a:chExt cx="2148963" cy="2677656"/>
            </a:xfrm>
          </p:grpSpPr>
          <p:cxnSp>
            <p:nvCxnSpPr>
              <p:cNvPr id="20" name="Přímá spojnice 19">
                <a:extLst>
                  <a:ext uri="{FF2B5EF4-FFF2-40B4-BE49-F238E27FC236}">
                    <a16:creationId xmlns:a16="http://schemas.microsoft.com/office/drawing/2014/main" id="{35EC2B8C-C929-4862-8369-05EA43E8176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2" name="Přímá spojnice 21">
                <a:extLst>
                  <a:ext uri="{FF2B5EF4-FFF2-40B4-BE49-F238E27FC236}">
                    <a16:creationId xmlns:a16="http://schemas.microsoft.com/office/drawing/2014/main" id="{5FA3818D-FD15-4813-90A7-78E8B1047EB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26" name="Obdélník 25">
                <a:extLst>
                  <a:ext uri="{FF2B5EF4-FFF2-40B4-BE49-F238E27FC236}">
                    <a16:creationId xmlns:a16="http://schemas.microsoft.com/office/drawing/2014/main" id="{B073DE6F-61E3-4B4A-A394-404CB1D72D94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2" name="TextovéPole 28">
                <a:extLst>
                  <a:ext uri="{FF2B5EF4-FFF2-40B4-BE49-F238E27FC236}">
                    <a16:creationId xmlns:a16="http://schemas.microsoft.com/office/drawing/2014/main" id="{E1C5F1FF-68CC-42D7-8E37-FAE566B7260D}"/>
                  </a:ext>
                </a:extLst>
              </p:cNvPr>
              <p:cNvSpPr txBox="1"/>
              <p:nvPr/>
            </p:nvSpPr>
            <p:spPr>
              <a:xfrm>
                <a:off x="10630649" y="3526984"/>
                <a:ext cx="1777011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kumimoji="0" lang="cs-CZ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b="1" kern="0" dirty="0">
                    <a:latin typeface="+mj-lt"/>
                  </a:rPr>
                  <a:t>Sc</a:t>
                </a:r>
                <a:r>
                  <a:rPr lang="cs-CZ" sz="1200" b="1" dirty="0">
                    <a:latin typeface="+mj-lt"/>
                  </a:rPr>
                  <a:t>énář I</a:t>
                </a:r>
                <a:r>
                  <a:rPr lang="en-US" sz="1200" b="1" dirty="0">
                    <a:latin typeface="+mj-lt"/>
                  </a:rPr>
                  <a:t>I</a:t>
                </a:r>
                <a:r>
                  <a:rPr lang="cs-CZ" sz="1200" b="1" dirty="0">
                    <a:latin typeface="+mj-lt"/>
                  </a:rPr>
                  <a:t>I:</a:t>
                </a:r>
                <a:r>
                  <a:rPr lang="cs-CZ" sz="1200" dirty="0">
                    <a:latin typeface="+mj-lt"/>
                  </a:rPr>
                  <a:t> rizikový vývoj s významnými zdravotními dopady, </a:t>
                </a:r>
                <a:r>
                  <a:rPr lang="cs-CZ" sz="1200" u="sng" dirty="0">
                    <a:latin typeface="+mj-lt"/>
                  </a:rPr>
                  <a:t>významný</a:t>
                </a:r>
                <a:r>
                  <a:rPr lang="cs-CZ" sz="1200" dirty="0">
                    <a:latin typeface="+mj-lt"/>
                  </a:rPr>
                  <a:t> další růst</a:t>
                </a: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I:</a:t>
                </a:r>
                <a:r>
                  <a:rPr lang="cs-CZ" sz="1200" dirty="0"/>
                  <a:t> rizikový vývoj s významnými zdravotními dopady, </a:t>
                </a:r>
                <a:r>
                  <a:rPr lang="cs-CZ" sz="1200" u="sng" dirty="0"/>
                  <a:t>střední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</a:t>
                </a:r>
                <a:r>
                  <a:rPr lang="cs-CZ" sz="1200" dirty="0"/>
                  <a:t>: rizikový vývoj s významnými zdravotními dopady, </a:t>
                </a:r>
                <a:r>
                  <a:rPr lang="cs-CZ" sz="1200" u="sng" dirty="0"/>
                  <a:t>nízký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latin typeface="+mj-lt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653B1FE1-CDF2-48FF-9ED9-B1AB96A41023}"/>
                </a:ext>
              </a:extLst>
            </p:cNvPr>
            <p:cNvCxnSpPr>
              <a:cxnSpLocks/>
            </p:cNvCxnSpPr>
            <p:nvPr>
              <p:custDataLst>
                <p:tags r:id="rId9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32508417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l. m. Prah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85365652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7" name="TextBox 9">
            <a:extLst>
              <a:ext uri="{FF2B5EF4-FFF2-40B4-BE49-F238E27FC236}">
                <a16:creationId xmlns:a16="http://schemas.microsoft.com/office/drawing/2014/main" id="{E2FC835F-483F-4322-AF6F-805415A9737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52755B4C-B9A7-4AD0-818B-5C35377FD60F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677656"/>
            <a:chOff x="9993159" y="3767843"/>
            <a:chExt cx="2148963" cy="2677656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668C8B5C-61B7-4E3A-8FDB-3A6534C9AF32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148963" cy="2677656"/>
              <a:chOff x="10258697" y="3526984"/>
              <a:chExt cx="2148963" cy="2677656"/>
            </a:xfrm>
          </p:grpSpPr>
          <p:cxnSp>
            <p:nvCxnSpPr>
              <p:cNvPr id="26" name="Přímá spojnice 25">
                <a:extLst>
                  <a:ext uri="{FF2B5EF4-FFF2-40B4-BE49-F238E27FC236}">
                    <a16:creationId xmlns:a16="http://schemas.microsoft.com/office/drawing/2014/main" id="{BFD16BFA-427D-4557-BB5C-79F1DD2A3BC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04101F19-2961-4AD2-B199-A2AF748BC17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3" name="Obdélník 32">
                <a:extLst>
                  <a:ext uri="{FF2B5EF4-FFF2-40B4-BE49-F238E27FC236}">
                    <a16:creationId xmlns:a16="http://schemas.microsoft.com/office/drawing/2014/main" id="{A490CE97-3E6D-416B-BC75-28964BCA3E63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7" name="TextovéPole 28">
                <a:extLst>
                  <a:ext uri="{FF2B5EF4-FFF2-40B4-BE49-F238E27FC236}">
                    <a16:creationId xmlns:a16="http://schemas.microsoft.com/office/drawing/2014/main" id="{1428D187-E8AB-493A-ACE3-7E1A947E86A4}"/>
                  </a:ext>
                </a:extLst>
              </p:cNvPr>
              <p:cNvSpPr txBox="1"/>
              <p:nvPr/>
            </p:nvSpPr>
            <p:spPr>
              <a:xfrm>
                <a:off x="10630649" y="3526984"/>
                <a:ext cx="1777011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kumimoji="0" lang="cs-CZ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b="1" kern="0" dirty="0">
                    <a:latin typeface="+mj-lt"/>
                  </a:rPr>
                  <a:t>Sc</a:t>
                </a:r>
                <a:r>
                  <a:rPr lang="cs-CZ" sz="1200" b="1" dirty="0">
                    <a:latin typeface="+mj-lt"/>
                  </a:rPr>
                  <a:t>énář I</a:t>
                </a:r>
                <a:r>
                  <a:rPr lang="en-US" sz="1200" b="1" dirty="0">
                    <a:latin typeface="+mj-lt"/>
                  </a:rPr>
                  <a:t>I</a:t>
                </a:r>
                <a:r>
                  <a:rPr lang="cs-CZ" sz="1200" b="1" dirty="0">
                    <a:latin typeface="+mj-lt"/>
                  </a:rPr>
                  <a:t>I:</a:t>
                </a:r>
                <a:r>
                  <a:rPr lang="cs-CZ" sz="1200" dirty="0">
                    <a:latin typeface="+mj-lt"/>
                  </a:rPr>
                  <a:t> rizikový vývoj s významnými zdravotními dopady, </a:t>
                </a:r>
                <a:r>
                  <a:rPr lang="cs-CZ" sz="1200" u="sng" dirty="0">
                    <a:latin typeface="+mj-lt"/>
                  </a:rPr>
                  <a:t>významný</a:t>
                </a:r>
                <a:r>
                  <a:rPr lang="cs-CZ" sz="1200" dirty="0">
                    <a:latin typeface="+mj-lt"/>
                  </a:rPr>
                  <a:t> další růst</a:t>
                </a: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I:</a:t>
                </a:r>
                <a:r>
                  <a:rPr lang="cs-CZ" sz="1200" dirty="0"/>
                  <a:t> rizikový vývoj s významnými zdravotními dopady, </a:t>
                </a:r>
                <a:r>
                  <a:rPr lang="cs-CZ" sz="1200" u="sng" dirty="0"/>
                  <a:t>střední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</a:t>
                </a:r>
                <a:r>
                  <a:rPr lang="cs-CZ" sz="1200" dirty="0"/>
                  <a:t>: rizikový vývoj s významnými zdravotními dopady, </a:t>
                </a:r>
                <a:r>
                  <a:rPr lang="cs-CZ" sz="1200" u="sng" dirty="0"/>
                  <a:t>nízký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latin typeface="+mj-lt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EA3F30D-4A1A-4EB7-B685-2AF6175F14AF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5887272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254230" y="3518139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07615632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19" name="Tabulka 6">
            <a:extLst>
              <a:ext uri="{FF2B5EF4-FFF2-40B4-BE49-F238E27FC236}">
                <a16:creationId xmlns:a16="http://schemas.microsoft.com/office/drawing/2014/main" id="{7D29E685-9773-420C-951D-6C9E2291F7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7628695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7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17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1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 069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167BE0F8-BDD1-42BA-A01B-5DA38B6A3E6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969265" y="2981877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41DC83DE-05CB-4010-ACB7-87B7898D9AEA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73933" y="3835663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3CA13141-5B31-4EFD-BC8E-983243A6F004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8" name="Přímá spojnice 27">
                <a:extLst>
                  <a:ext uri="{FF2B5EF4-FFF2-40B4-BE49-F238E27FC236}">
                    <a16:creationId xmlns:a16="http://schemas.microsoft.com/office/drawing/2014/main" id="{53E9B045-80FB-4AAF-B45A-7191C12629E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9414E44A-9584-42C8-9240-58430402A1E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0" name="Obdélník 29">
                <a:extLst>
                  <a:ext uri="{FF2B5EF4-FFF2-40B4-BE49-F238E27FC236}">
                    <a16:creationId xmlns:a16="http://schemas.microsoft.com/office/drawing/2014/main" id="{4174D362-F2FC-4836-8B2B-8A833EB314B4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1" name="TextovéPole 28">
                <a:extLst>
                  <a:ext uri="{FF2B5EF4-FFF2-40B4-BE49-F238E27FC236}">
                    <a16:creationId xmlns:a16="http://schemas.microsoft.com/office/drawing/2014/main" id="{9548C3AD-0802-4E1F-A9B1-326B5B09AE84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</a:t>
                </a:r>
                <a:r>
                  <a:rPr kumimoji="0" lang="cs-CZ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izikový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6E9EB564-376F-484C-8EF3-CAEF378481B5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2374499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ředoče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38453336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7" name="TextBox 9">
            <a:extLst>
              <a:ext uri="{FF2B5EF4-FFF2-40B4-BE49-F238E27FC236}">
                <a16:creationId xmlns:a16="http://schemas.microsoft.com/office/drawing/2014/main" id="{DB103B39-3AF1-4965-B718-6F12A08D544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040809EF-435B-4744-9196-5574C22818F1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677656"/>
            <a:chOff x="9993159" y="3767843"/>
            <a:chExt cx="2148963" cy="2677656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49FC5AD9-D2FD-4F06-AA53-A45758EF115D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148963" cy="2677656"/>
              <a:chOff x="10258697" y="3526984"/>
              <a:chExt cx="2148963" cy="2677656"/>
            </a:xfrm>
          </p:grpSpPr>
          <p:cxnSp>
            <p:nvCxnSpPr>
              <p:cNvPr id="26" name="Přímá spojnice 25">
                <a:extLst>
                  <a:ext uri="{FF2B5EF4-FFF2-40B4-BE49-F238E27FC236}">
                    <a16:creationId xmlns:a16="http://schemas.microsoft.com/office/drawing/2014/main" id="{A12F690D-6D1A-4B01-A5B1-25F03B9BF09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1388D707-3B23-49BA-9C2E-9850BC7C1B0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3" name="Obdélník 32">
                <a:extLst>
                  <a:ext uri="{FF2B5EF4-FFF2-40B4-BE49-F238E27FC236}">
                    <a16:creationId xmlns:a16="http://schemas.microsoft.com/office/drawing/2014/main" id="{3B9E5289-FD7F-4077-BC14-5F78B4AC95F4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7" name="TextovéPole 28">
                <a:extLst>
                  <a:ext uri="{FF2B5EF4-FFF2-40B4-BE49-F238E27FC236}">
                    <a16:creationId xmlns:a16="http://schemas.microsoft.com/office/drawing/2014/main" id="{888CC01D-3708-4007-9129-6888A87BB0F7}"/>
                  </a:ext>
                </a:extLst>
              </p:cNvPr>
              <p:cNvSpPr txBox="1"/>
              <p:nvPr/>
            </p:nvSpPr>
            <p:spPr>
              <a:xfrm>
                <a:off x="10630649" y="3526984"/>
                <a:ext cx="1777011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kumimoji="0" lang="cs-CZ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b="1" kern="0" dirty="0">
                    <a:latin typeface="+mj-lt"/>
                  </a:rPr>
                  <a:t>Sc</a:t>
                </a:r>
                <a:r>
                  <a:rPr lang="cs-CZ" sz="1200" b="1" dirty="0">
                    <a:latin typeface="+mj-lt"/>
                  </a:rPr>
                  <a:t>énář I</a:t>
                </a:r>
                <a:r>
                  <a:rPr lang="en-US" sz="1200" b="1" dirty="0">
                    <a:latin typeface="+mj-lt"/>
                  </a:rPr>
                  <a:t>I</a:t>
                </a:r>
                <a:r>
                  <a:rPr lang="cs-CZ" sz="1200" b="1" dirty="0">
                    <a:latin typeface="+mj-lt"/>
                  </a:rPr>
                  <a:t>I:</a:t>
                </a:r>
                <a:r>
                  <a:rPr lang="cs-CZ" sz="1200" dirty="0">
                    <a:latin typeface="+mj-lt"/>
                  </a:rPr>
                  <a:t> rizikový vývoj s významnými zdravotními dopady, </a:t>
                </a:r>
                <a:r>
                  <a:rPr lang="cs-CZ" sz="1200" u="sng" dirty="0">
                    <a:latin typeface="+mj-lt"/>
                  </a:rPr>
                  <a:t>významný</a:t>
                </a:r>
                <a:r>
                  <a:rPr lang="cs-CZ" sz="1200" dirty="0">
                    <a:latin typeface="+mj-lt"/>
                  </a:rPr>
                  <a:t> další růst</a:t>
                </a: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I:</a:t>
                </a:r>
                <a:r>
                  <a:rPr lang="cs-CZ" sz="1200" dirty="0"/>
                  <a:t> rizikový vývoj s významnými zdravotními dopady, </a:t>
                </a:r>
                <a:r>
                  <a:rPr lang="cs-CZ" sz="1200" u="sng" dirty="0"/>
                  <a:t>střední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</a:t>
                </a:r>
                <a:r>
                  <a:rPr lang="cs-CZ" sz="1200" dirty="0"/>
                  <a:t>: rizikový vývoj s významnými zdravotními dopady, </a:t>
                </a:r>
                <a:r>
                  <a:rPr lang="cs-CZ" sz="1200" u="sng" dirty="0"/>
                  <a:t>nízký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latin typeface="+mj-lt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63E9FF83-27E7-42DD-B36E-657D6CAC54DD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12655092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če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33729492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7" name="TextBox 9">
            <a:extLst>
              <a:ext uri="{FF2B5EF4-FFF2-40B4-BE49-F238E27FC236}">
                <a16:creationId xmlns:a16="http://schemas.microsoft.com/office/drawing/2014/main" id="{66653CE8-EE26-47CB-B7B7-02361F58229F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6A76B855-AEC7-4009-918B-A79152AB5945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677656"/>
            <a:chOff x="9993159" y="3767843"/>
            <a:chExt cx="2148963" cy="2677656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CAEBD2C0-9A2F-4677-B38A-95CF59D1E8FF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148963" cy="2677656"/>
              <a:chOff x="10258697" y="3526984"/>
              <a:chExt cx="2148963" cy="2677656"/>
            </a:xfrm>
          </p:grpSpPr>
          <p:cxnSp>
            <p:nvCxnSpPr>
              <p:cNvPr id="26" name="Přímá spojnice 25">
                <a:extLst>
                  <a:ext uri="{FF2B5EF4-FFF2-40B4-BE49-F238E27FC236}">
                    <a16:creationId xmlns:a16="http://schemas.microsoft.com/office/drawing/2014/main" id="{1B003819-B361-4ECB-A26C-8FD300AF184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8D571F09-4D60-451E-9020-A4F131C0A73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3" name="Obdélník 32">
                <a:extLst>
                  <a:ext uri="{FF2B5EF4-FFF2-40B4-BE49-F238E27FC236}">
                    <a16:creationId xmlns:a16="http://schemas.microsoft.com/office/drawing/2014/main" id="{DD8BB882-CF5F-4D1E-8BB1-FA992A5B2F25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7" name="TextovéPole 28">
                <a:extLst>
                  <a:ext uri="{FF2B5EF4-FFF2-40B4-BE49-F238E27FC236}">
                    <a16:creationId xmlns:a16="http://schemas.microsoft.com/office/drawing/2014/main" id="{A30F6E6D-EDF4-4439-BA0F-0DE3DFB1B9B5}"/>
                  </a:ext>
                </a:extLst>
              </p:cNvPr>
              <p:cNvSpPr txBox="1"/>
              <p:nvPr/>
            </p:nvSpPr>
            <p:spPr>
              <a:xfrm>
                <a:off x="10630649" y="3526984"/>
                <a:ext cx="1777011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kumimoji="0" lang="cs-CZ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b="1" kern="0" dirty="0">
                    <a:latin typeface="+mj-lt"/>
                  </a:rPr>
                  <a:t>Sc</a:t>
                </a:r>
                <a:r>
                  <a:rPr lang="cs-CZ" sz="1200" b="1" dirty="0">
                    <a:latin typeface="+mj-lt"/>
                  </a:rPr>
                  <a:t>énář I</a:t>
                </a:r>
                <a:r>
                  <a:rPr lang="en-US" sz="1200" b="1" dirty="0">
                    <a:latin typeface="+mj-lt"/>
                  </a:rPr>
                  <a:t>I</a:t>
                </a:r>
                <a:r>
                  <a:rPr lang="cs-CZ" sz="1200" b="1" dirty="0">
                    <a:latin typeface="+mj-lt"/>
                  </a:rPr>
                  <a:t>I:</a:t>
                </a:r>
                <a:r>
                  <a:rPr lang="cs-CZ" sz="1200" dirty="0">
                    <a:latin typeface="+mj-lt"/>
                  </a:rPr>
                  <a:t> rizikový vývoj s významnými zdravotními dopady, </a:t>
                </a:r>
                <a:r>
                  <a:rPr lang="cs-CZ" sz="1200" u="sng" dirty="0">
                    <a:latin typeface="+mj-lt"/>
                  </a:rPr>
                  <a:t>významný</a:t>
                </a:r>
                <a:r>
                  <a:rPr lang="cs-CZ" sz="1200" dirty="0">
                    <a:latin typeface="+mj-lt"/>
                  </a:rPr>
                  <a:t> další růst</a:t>
                </a: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I:</a:t>
                </a:r>
                <a:r>
                  <a:rPr lang="cs-CZ" sz="1200" dirty="0"/>
                  <a:t> rizikový vývoj s významnými zdravotními dopady, </a:t>
                </a:r>
                <a:r>
                  <a:rPr lang="cs-CZ" sz="1200" u="sng" dirty="0"/>
                  <a:t>střední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</a:t>
                </a:r>
                <a:r>
                  <a:rPr lang="cs-CZ" sz="1200" dirty="0"/>
                  <a:t>: rizikový vývoj s významnými zdravotními dopady, </a:t>
                </a:r>
                <a:r>
                  <a:rPr lang="cs-CZ" sz="1200" u="sng" dirty="0"/>
                  <a:t>nízký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latin typeface="+mj-lt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2AD3BB3-F43A-41B1-B79B-F834D9383094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11777944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ze</a:t>
            </a:r>
            <a:r>
              <a:rPr lang="cs-CZ" b="1" i="1" dirty="0" err="1">
                <a:solidFill>
                  <a:prstClr val="black"/>
                </a:solidFill>
                <a:latin typeface="Arial" panose="020B0604020202020204"/>
              </a:rPr>
              <a:t>ňský</a:t>
            </a:r>
            <a:r>
              <a:rPr lang="cs-CZ" b="1" i="1" dirty="0">
                <a:solidFill>
                  <a:prstClr val="black"/>
                </a:solidFill>
                <a:latin typeface="Arial" panose="020B0604020202020204"/>
              </a:rPr>
              <a:t> kraj</a:t>
            </a:r>
            <a:endParaRPr kumimoji="0" lang="cs-CZ" sz="18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71458942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7" name="TextBox 9">
            <a:extLst>
              <a:ext uri="{FF2B5EF4-FFF2-40B4-BE49-F238E27FC236}">
                <a16:creationId xmlns:a16="http://schemas.microsoft.com/office/drawing/2014/main" id="{C8FC1F2D-9C12-4CE0-8F6A-874F5177DEF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CE623BFB-FD46-4862-8E4E-F3E6E499DBEE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677656"/>
            <a:chOff x="9993159" y="3767843"/>
            <a:chExt cx="2148963" cy="2677656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C976CFB9-ABEF-4C03-B648-5D2A5CDF34B0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148963" cy="2677656"/>
              <a:chOff x="10258697" y="3526984"/>
              <a:chExt cx="2148963" cy="2677656"/>
            </a:xfrm>
          </p:grpSpPr>
          <p:cxnSp>
            <p:nvCxnSpPr>
              <p:cNvPr id="26" name="Přímá spojnice 25">
                <a:extLst>
                  <a:ext uri="{FF2B5EF4-FFF2-40B4-BE49-F238E27FC236}">
                    <a16:creationId xmlns:a16="http://schemas.microsoft.com/office/drawing/2014/main" id="{F6E1F8B8-7CA3-413A-9C97-C651C5196A1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0C1654D1-399D-44D0-8170-245868C0FB9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3" name="Obdélník 32">
                <a:extLst>
                  <a:ext uri="{FF2B5EF4-FFF2-40B4-BE49-F238E27FC236}">
                    <a16:creationId xmlns:a16="http://schemas.microsoft.com/office/drawing/2014/main" id="{CCC5D18D-6F6E-4266-B0FE-F9A82FF8D657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7" name="TextovéPole 28">
                <a:extLst>
                  <a:ext uri="{FF2B5EF4-FFF2-40B4-BE49-F238E27FC236}">
                    <a16:creationId xmlns:a16="http://schemas.microsoft.com/office/drawing/2014/main" id="{1E2FADF6-05BD-48C5-9EB1-E1C7CA48503D}"/>
                  </a:ext>
                </a:extLst>
              </p:cNvPr>
              <p:cNvSpPr txBox="1"/>
              <p:nvPr/>
            </p:nvSpPr>
            <p:spPr>
              <a:xfrm>
                <a:off x="10630649" y="3526984"/>
                <a:ext cx="1777011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kumimoji="0" lang="cs-CZ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b="1" kern="0" dirty="0">
                    <a:latin typeface="+mj-lt"/>
                  </a:rPr>
                  <a:t>Sc</a:t>
                </a:r>
                <a:r>
                  <a:rPr lang="cs-CZ" sz="1200" b="1" dirty="0">
                    <a:latin typeface="+mj-lt"/>
                  </a:rPr>
                  <a:t>énář I</a:t>
                </a:r>
                <a:r>
                  <a:rPr lang="en-US" sz="1200" b="1" dirty="0">
                    <a:latin typeface="+mj-lt"/>
                  </a:rPr>
                  <a:t>I</a:t>
                </a:r>
                <a:r>
                  <a:rPr lang="cs-CZ" sz="1200" b="1" dirty="0">
                    <a:latin typeface="+mj-lt"/>
                  </a:rPr>
                  <a:t>I:</a:t>
                </a:r>
                <a:r>
                  <a:rPr lang="cs-CZ" sz="1200" dirty="0">
                    <a:latin typeface="+mj-lt"/>
                  </a:rPr>
                  <a:t> rizikový vývoj s významnými zdravotními dopady, </a:t>
                </a:r>
                <a:r>
                  <a:rPr lang="cs-CZ" sz="1200" u="sng" dirty="0">
                    <a:latin typeface="+mj-lt"/>
                  </a:rPr>
                  <a:t>významný</a:t>
                </a:r>
                <a:r>
                  <a:rPr lang="cs-CZ" sz="1200" dirty="0">
                    <a:latin typeface="+mj-lt"/>
                  </a:rPr>
                  <a:t> další růst</a:t>
                </a: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I:</a:t>
                </a:r>
                <a:r>
                  <a:rPr lang="cs-CZ" sz="1200" dirty="0"/>
                  <a:t> rizikový vývoj s významnými zdravotními dopady, </a:t>
                </a:r>
                <a:r>
                  <a:rPr lang="cs-CZ" sz="1200" u="sng" dirty="0"/>
                  <a:t>střední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</a:t>
                </a:r>
                <a:r>
                  <a:rPr lang="cs-CZ" sz="1200" dirty="0"/>
                  <a:t>: rizikový vývoj s významnými zdravotními dopady, </a:t>
                </a:r>
                <a:r>
                  <a:rPr lang="cs-CZ" sz="1200" u="sng" dirty="0"/>
                  <a:t>nízký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latin typeface="+mj-lt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21E884A0-0BD4-4413-8C8C-0E7E6C3EA528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21484405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rlovar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31810317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7" name="TextBox 9">
            <a:extLst>
              <a:ext uri="{FF2B5EF4-FFF2-40B4-BE49-F238E27FC236}">
                <a16:creationId xmlns:a16="http://schemas.microsoft.com/office/drawing/2014/main" id="{490F79CA-FEC6-4267-8C86-1F140A28646B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18" name="Skupina 17">
            <a:extLst>
              <a:ext uri="{FF2B5EF4-FFF2-40B4-BE49-F238E27FC236}">
                <a16:creationId xmlns:a16="http://schemas.microsoft.com/office/drawing/2014/main" id="{51E06D9F-220E-4362-9676-B9425D54666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677656"/>
            <a:chOff x="9993159" y="3767843"/>
            <a:chExt cx="2148963" cy="2677656"/>
          </a:xfrm>
        </p:grpSpPr>
        <p:grpSp>
          <p:nvGrpSpPr>
            <p:cNvPr id="19" name="Skupina 18">
              <a:extLst>
                <a:ext uri="{FF2B5EF4-FFF2-40B4-BE49-F238E27FC236}">
                  <a16:creationId xmlns:a16="http://schemas.microsoft.com/office/drawing/2014/main" id="{C62D7E15-238C-4CC4-ABF9-2987E4530D75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148963" cy="2677656"/>
              <a:chOff x="10258697" y="3526984"/>
              <a:chExt cx="2148963" cy="2677656"/>
            </a:xfrm>
          </p:grpSpPr>
          <p:cxnSp>
            <p:nvCxnSpPr>
              <p:cNvPr id="28" name="Přímá spojnice 27">
                <a:extLst>
                  <a:ext uri="{FF2B5EF4-FFF2-40B4-BE49-F238E27FC236}">
                    <a16:creationId xmlns:a16="http://schemas.microsoft.com/office/drawing/2014/main" id="{DF22EE8A-EB91-4B36-B2D2-E531E2EB524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714C9D57-555D-4369-AFE7-0E85F7CA760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0" name="Obdélník 29">
                <a:extLst>
                  <a:ext uri="{FF2B5EF4-FFF2-40B4-BE49-F238E27FC236}">
                    <a16:creationId xmlns:a16="http://schemas.microsoft.com/office/drawing/2014/main" id="{96918B9B-B7B3-4A62-B44B-4C804C8857C4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1" name="TextovéPole 28">
                <a:extLst>
                  <a:ext uri="{FF2B5EF4-FFF2-40B4-BE49-F238E27FC236}">
                    <a16:creationId xmlns:a16="http://schemas.microsoft.com/office/drawing/2014/main" id="{3FF7B9CC-36D8-4BEA-800A-A4F8633BC9DA}"/>
                  </a:ext>
                </a:extLst>
              </p:cNvPr>
              <p:cNvSpPr txBox="1"/>
              <p:nvPr/>
            </p:nvSpPr>
            <p:spPr>
              <a:xfrm>
                <a:off x="10630649" y="3526984"/>
                <a:ext cx="1777011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kumimoji="0" lang="cs-CZ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b="1" kern="0" dirty="0">
                    <a:latin typeface="+mj-lt"/>
                  </a:rPr>
                  <a:t>Sc</a:t>
                </a:r>
                <a:r>
                  <a:rPr lang="cs-CZ" sz="1200" b="1" dirty="0">
                    <a:latin typeface="+mj-lt"/>
                  </a:rPr>
                  <a:t>énář I</a:t>
                </a:r>
                <a:r>
                  <a:rPr lang="en-US" sz="1200" b="1" dirty="0">
                    <a:latin typeface="+mj-lt"/>
                  </a:rPr>
                  <a:t>I</a:t>
                </a:r>
                <a:r>
                  <a:rPr lang="cs-CZ" sz="1200" b="1" dirty="0">
                    <a:latin typeface="+mj-lt"/>
                  </a:rPr>
                  <a:t>I:</a:t>
                </a:r>
                <a:r>
                  <a:rPr lang="cs-CZ" sz="1200" dirty="0">
                    <a:latin typeface="+mj-lt"/>
                  </a:rPr>
                  <a:t> rizikový vývoj s významnými zdravotními dopady, </a:t>
                </a:r>
                <a:r>
                  <a:rPr lang="cs-CZ" sz="1200" u="sng" dirty="0">
                    <a:latin typeface="+mj-lt"/>
                  </a:rPr>
                  <a:t>významný</a:t>
                </a:r>
                <a:r>
                  <a:rPr lang="cs-CZ" sz="1200" dirty="0">
                    <a:latin typeface="+mj-lt"/>
                  </a:rPr>
                  <a:t> další růst</a:t>
                </a: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I:</a:t>
                </a:r>
                <a:r>
                  <a:rPr lang="cs-CZ" sz="1200" dirty="0"/>
                  <a:t> rizikový vývoj s významnými zdravotními dopady, </a:t>
                </a:r>
                <a:r>
                  <a:rPr lang="cs-CZ" sz="1200" u="sng" dirty="0"/>
                  <a:t>střední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</a:t>
                </a:r>
                <a:r>
                  <a:rPr lang="cs-CZ" sz="1200" dirty="0"/>
                  <a:t>: rizikový vývoj s významnými zdravotními dopady, </a:t>
                </a:r>
                <a:r>
                  <a:rPr lang="cs-CZ" sz="1200" u="sng" dirty="0"/>
                  <a:t>nízký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latin typeface="+mj-lt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812C37C2-7A58-4F2D-B269-59B2F3CD2E83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85911412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Úst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21896778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7" name="TextBox 9">
            <a:extLst>
              <a:ext uri="{FF2B5EF4-FFF2-40B4-BE49-F238E27FC236}">
                <a16:creationId xmlns:a16="http://schemas.microsoft.com/office/drawing/2014/main" id="{91860E39-1522-434D-843E-B46E4DC3648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D732E74C-666F-4FC4-9852-140EBF600559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677656"/>
            <a:chOff x="9993159" y="3767843"/>
            <a:chExt cx="2148963" cy="2677656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CE891B23-8C66-4FDE-A618-F3082D18259C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148963" cy="2677656"/>
              <a:chOff x="10258697" y="3526984"/>
              <a:chExt cx="2148963" cy="2677656"/>
            </a:xfrm>
          </p:grpSpPr>
          <p:cxnSp>
            <p:nvCxnSpPr>
              <p:cNvPr id="26" name="Přímá spojnice 25">
                <a:extLst>
                  <a:ext uri="{FF2B5EF4-FFF2-40B4-BE49-F238E27FC236}">
                    <a16:creationId xmlns:a16="http://schemas.microsoft.com/office/drawing/2014/main" id="{479F370B-93AD-4C0B-9388-8904C22C3A9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F39B494F-ADFE-4C24-86BA-BB986B75333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3" name="Obdélník 32">
                <a:extLst>
                  <a:ext uri="{FF2B5EF4-FFF2-40B4-BE49-F238E27FC236}">
                    <a16:creationId xmlns:a16="http://schemas.microsoft.com/office/drawing/2014/main" id="{2183AEF4-5752-4355-A1A8-D3CA3C1527E5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7" name="TextovéPole 28">
                <a:extLst>
                  <a:ext uri="{FF2B5EF4-FFF2-40B4-BE49-F238E27FC236}">
                    <a16:creationId xmlns:a16="http://schemas.microsoft.com/office/drawing/2014/main" id="{BDD1DEF3-BEB7-4357-BCAB-192EF1E46DF5}"/>
                  </a:ext>
                </a:extLst>
              </p:cNvPr>
              <p:cNvSpPr txBox="1"/>
              <p:nvPr/>
            </p:nvSpPr>
            <p:spPr>
              <a:xfrm>
                <a:off x="10630649" y="3526984"/>
                <a:ext cx="1777011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kumimoji="0" lang="cs-CZ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b="1" kern="0" dirty="0">
                    <a:latin typeface="+mj-lt"/>
                  </a:rPr>
                  <a:t>Sc</a:t>
                </a:r>
                <a:r>
                  <a:rPr lang="cs-CZ" sz="1200" b="1" dirty="0">
                    <a:latin typeface="+mj-lt"/>
                  </a:rPr>
                  <a:t>énář I</a:t>
                </a:r>
                <a:r>
                  <a:rPr lang="en-US" sz="1200" b="1" dirty="0">
                    <a:latin typeface="+mj-lt"/>
                  </a:rPr>
                  <a:t>I</a:t>
                </a:r>
                <a:r>
                  <a:rPr lang="cs-CZ" sz="1200" b="1" dirty="0">
                    <a:latin typeface="+mj-lt"/>
                  </a:rPr>
                  <a:t>I:</a:t>
                </a:r>
                <a:r>
                  <a:rPr lang="cs-CZ" sz="1200" dirty="0">
                    <a:latin typeface="+mj-lt"/>
                  </a:rPr>
                  <a:t> rizikový vývoj s významnými zdravotními dopady, </a:t>
                </a:r>
                <a:r>
                  <a:rPr lang="cs-CZ" sz="1200" u="sng" dirty="0">
                    <a:latin typeface="+mj-lt"/>
                  </a:rPr>
                  <a:t>významný</a:t>
                </a:r>
                <a:r>
                  <a:rPr lang="cs-CZ" sz="1200" dirty="0">
                    <a:latin typeface="+mj-lt"/>
                  </a:rPr>
                  <a:t> další růst</a:t>
                </a: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I:</a:t>
                </a:r>
                <a:r>
                  <a:rPr lang="cs-CZ" sz="1200" dirty="0"/>
                  <a:t> rizikový vývoj s významnými zdravotními dopady, </a:t>
                </a:r>
                <a:r>
                  <a:rPr lang="cs-CZ" sz="1200" u="sng" dirty="0"/>
                  <a:t>střední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</a:t>
                </a:r>
                <a:r>
                  <a:rPr lang="cs-CZ" sz="1200" dirty="0"/>
                  <a:t>: rizikový vývoj s významnými zdravotními dopady, </a:t>
                </a:r>
                <a:r>
                  <a:rPr lang="cs-CZ" sz="1200" u="sng" dirty="0"/>
                  <a:t>nízký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latin typeface="+mj-lt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42017104-8F37-40C1-B378-BBA721D108D5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87991636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ber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24434243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7" name="TextBox 9">
            <a:extLst>
              <a:ext uri="{FF2B5EF4-FFF2-40B4-BE49-F238E27FC236}">
                <a16:creationId xmlns:a16="http://schemas.microsoft.com/office/drawing/2014/main" id="{E9960545-5F1E-490C-B2A5-D75A63A368E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C8D1B5C5-2878-4468-A836-C3EDDBB9218C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677656"/>
            <a:chOff x="9993159" y="3767843"/>
            <a:chExt cx="2148963" cy="2677656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C5A89DEE-3921-47B9-8616-3E927A252A24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148963" cy="2677656"/>
              <a:chOff x="10258697" y="3526984"/>
              <a:chExt cx="2148963" cy="2677656"/>
            </a:xfrm>
          </p:grpSpPr>
          <p:cxnSp>
            <p:nvCxnSpPr>
              <p:cNvPr id="26" name="Přímá spojnice 25">
                <a:extLst>
                  <a:ext uri="{FF2B5EF4-FFF2-40B4-BE49-F238E27FC236}">
                    <a16:creationId xmlns:a16="http://schemas.microsoft.com/office/drawing/2014/main" id="{771BD5FF-9A0B-4FB2-A6AB-29948F77F38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E4A60699-0BBE-4A82-A896-760A7E6AB91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3" name="Obdélník 32">
                <a:extLst>
                  <a:ext uri="{FF2B5EF4-FFF2-40B4-BE49-F238E27FC236}">
                    <a16:creationId xmlns:a16="http://schemas.microsoft.com/office/drawing/2014/main" id="{62541A45-E585-4FA5-8CFB-A1506EB17233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7" name="TextovéPole 28">
                <a:extLst>
                  <a:ext uri="{FF2B5EF4-FFF2-40B4-BE49-F238E27FC236}">
                    <a16:creationId xmlns:a16="http://schemas.microsoft.com/office/drawing/2014/main" id="{539C71E0-E549-4D17-A638-315086552419}"/>
                  </a:ext>
                </a:extLst>
              </p:cNvPr>
              <p:cNvSpPr txBox="1"/>
              <p:nvPr/>
            </p:nvSpPr>
            <p:spPr>
              <a:xfrm>
                <a:off x="10630649" y="3526984"/>
                <a:ext cx="1777011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kumimoji="0" lang="cs-CZ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b="1" kern="0" dirty="0">
                    <a:latin typeface="+mj-lt"/>
                  </a:rPr>
                  <a:t>Sc</a:t>
                </a:r>
                <a:r>
                  <a:rPr lang="cs-CZ" sz="1200" b="1" dirty="0">
                    <a:latin typeface="+mj-lt"/>
                  </a:rPr>
                  <a:t>énář I</a:t>
                </a:r>
                <a:r>
                  <a:rPr lang="en-US" sz="1200" b="1" dirty="0">
                    <a:latin typeface="+mj-lt"/>
                  </a:rPr>
                  <a:t>I</a:t>
                </a:r>
                <a:r>
                  <a:rPr lang="cs-CZ" sz="1200" b="1" dirty="0">
                    <a:latin typeface="+mj-lt"/>
                  </a:rPr>
                  <a:t>I:</a:t>
                </a:r>
                <a:r>
                  <a:rPr lang="cs-CZ" sz="1200" dirty="0">
                    <a:latin typeface="+mj-lt"/>
                  </a:rPr>
                  <a:t> rizikový vývoj s významnými zdravotními dopady, </a:t>
                </a:r>
                <a:r>
                  <a:rPr lang="cs-CZ" sz="1200" u="sng" dirty="0">
                    <a:latin typeface="+mj-lt"/>
                  </a:rPr>
                  <a:t>významný</a:t>
                </a:r>
                <a:r>
                  <a:rPr lang="cs-CZ" sz="1200" dirty="0">
                    <a:latin typeface="+mj-lt"/>
                  </a:rPr>
                  <a:t> další růst</a:t>
                </a: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I:</a:t>
                </a:r>
                <a:r>
                  <a:rPr lang="cs-CZ" sz="1200" dirty="0"/>
                  <a:t> rizikový vývoj s významnými zdravotními dopady, </a:t>
                </a:r>
                <a:r>
                  <a:rPr lang="cs-CZ" sz="1200" u="sng" dirty="0"/>
                  <a:t>střední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</a:t>
                </a:r>
                <a:r>
                  <a:rPr lang="cs-CZ" sz="1200" dirty="0"/>
                  <a:t>: rizikový vývoj s významnými zdravotními dopady, </a:t>
                </a:r>
                <a:r>
                  <a:rPr lang="cs-CZ" sz="1200" u="sng" dirty="0"/>
                  <a:t>nízký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latin typeface="+mj-lt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36B0FD13-F481-41D7-83AA-500C37885D3A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64389532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álovéhrad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06456262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7" name="TextBox 9">
            <a:extLst>
              <a:ext uri="{FF2B5EF4-FFF2-40B4-BE49-F238E27FC236}">
                <a16:creationId xmlns:a16="http://schemas.microsoft.com/office/drawing/2014/main" id="{643F0D90-9962-4799-8B26-6E1F5E870541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106BC6E6-9695-46F7-AF7E-5BC15519A28C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677656"/>
            <a:chOff x="9993159" y="3767843"/>
            <a:chExt cx="2148963" cy="2677656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334E5FCF-1E70-455E-BBAB-BCA8B1FED307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148963" cy="2677656"/>
              <a:chOff x="10258697" y="3526984"/>
              <a:chExt cx="2148963" cy="2677656"/>
            </a:xfrm>
          </p:grpSpPr>
          <p:cxnSp>
            <p:nvCxnSpPr>
              <p:cNvPr id="26" name="Přímá spojnice 25">
                <a:extLst>
                  <a:ext uri="{FF2B5EF4-FFF2-40B4-BE49-F238E27FC236}">
                    <a16:creationId xmlns:a16="http://schemas.microsoft.com/office/drawing/2014/main" id="{C45487E7-DADB-4D8B-9F8D-6C3FE64D3A0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8626BEFF-1221-4E37-9ABF-26AF7F0ABCE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3" name="Obdélník 32">
                <a:extLst>
                  <a:ext uri="{FF2B5EF4-FFF2-40B4-BE49-F238E27FC236}">
                    <a16:creationId xmlns:a16="http://schemas.microsoft.com/office/drawing/2014/main" id="{92F3327A-CCCC-440E-8B48-892419C7D806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7" name="TextovéPole 28">
                <a:extLst>
                  <a:ext uri="{FF2B5EF4-FFF2-40B4-BE49-F238E27FC236}">
                    <a16:creationId xmlns:a16="http://schemas.microsoft.com/office/drawing/2014/main" id="{5F71C516-2B86-4741-A9B6-349C1F079201}"/>
                  </a:ext>
                </a:extLst>
              </p:cNvPr>
              <p:cNvSpPr txBox="1"/>
              <p:nvPr/>
            </p:nvSpPr>
            <p:spPr>
              <a:xfrm>
                <a:off x="10630649" y="3526984"/>
                <a:ext cx="1777011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kumimoji="0" lang="cs-CZ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b="1" kern="0" dirty="0">
                    <a:latin typeface="+mj-lt"/>
                  </a:rPr>
                  <a:t>Sc</a:t>
                </a:r>
                <a:r>
                  <a:rPr lang="cs-CZ" sz="1200" b="1" dirty="0">
                    <a:latin typeface="+mj-lt"/>
                  </a:rPr>
                  <a:t>énář I</a:t>
                </a:r>
                <a:r>
                  <a:rPr lang="en-US" sz="1200" b="1" dirty="0">
                    <a:latin typeface="+mj-lt"/>
                  </a:rPr>
                  <a:t>I</a:t>
                </a:r>
                <a:r>
                  <a:rPr lang="cs-CZ" sz="1200" b="1" dirty="0">
                    <a:latin typeface="+mj-lt"/>
                  </a:rPr>
                  <a:t>I:</a:t>
                </a:r>
                <a:r>
                  <a:rPr lang="cs-CZ" sz="1200" dirty="0">
                    <a:latin typeface="+mj-lt"/>
                  </a:rPr>
                  <a:t> rizikový vývoj s významnými zdravotními dopady, </a:t>
                </a:r>
                <a:r>
                  <a:rPr lang="cs-CZ" sz="1200" u="sng" dirty="0">
                    <a:latin typeface="+mj-lt"/>
                  </a:rPr>
                  <a:t>významný</a:t>
                </a:r>
                <a:r>
                  <a:rPr lang="cs-CZ" sz="1200" dirty="0">
                    <a:latin typeface="+mj-lt"/>
                  </a:rPr>
                  <a:t> další růst</a:t>
                </a: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I:</a:t>
                </a:r>
                <a:r>
                  <a:rPr lang="cs-CZ" sz="1200" dirty="0"/>
                  <a:t> rizikový vývoj s významnými zdravotními dopady, </a:t>
                </a:r>
                <a:r>
                  <a:rPr lang="cs-CZ" sz="1200" u="sng" dirty="0"/>
                  <a:t>střední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</a:t>
                </a:r>
                <a:r>
                  <a:rPr lang="cs-CZ" sz="1200" dirty="0"/>
                  <a:t>: rizikový vývoj s významnými zdravotními dopady, </a:t>
                </a:r>
                <a:r>
                  <a:rPr lang="cs-CZ" sz="1200" u="sng" dirty="0"/>
                  <a:t>nízký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latin typeface="+mj-lt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D9201D03-3261-4B40-96A0-F34E2EDB4FB3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34376737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rdubi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60379749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7" name="TextBox 9">
            <a:extLst>
              <a:ext uri="{FF2B5EF4-FFF2-40B4-BE49-F238E27FC236}">
                <a16:creationId xmlns:a16="http://schemas.microsoft.com/office/drawing/2014/main" id="{71887A8B-7551-4896-AD4E-B37476FBF33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D3E0B414-81CA-4E4B-8FC2-AA2EE87535FC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677656"/>
            <a:chOff x="9993159" y="3767843"/>
            <a:chExt cx="2148963" cy="2677656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DDAB758A-B177-4B64-8414-5D1FE88CE71F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148963" cy="2677656"/>
              <a:chOff x="10258697" y="3526984"/>
              <a:chExt cx="2148963" cy="2677656"/>
            </a:xfrm>
          </p:grpSpPr>
          <p:cxnSp>
            <p:nvCxnSpPr>
              <p:cNvPr id="26" name="Přímá spojnice 25">
                <a:extLst>
                  <a:ext uri="{FF2B5EF4-FFF2-40B4-BE49-F238E27FC236}">
                    <a16:creationId xmlns:a16="http://schemas.microsoft.com/office/drawing/2014/main" id="{5F342F09-48E1-4A08-BD95-D3636ECA07B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9F8C6033-4F78-4F7E-BA04-2D28CA4F49D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3" name="Obdélník 32">
                <a:extLst>
                  <a:ext uri="{FF2B5EF4-FFF2-40B4-BE49-F238E27FC236}">
                    <a16:creationId xmlns:a16="http://schemas.microsoft.com/office/drawing/2014/main" id="{BFF943D5-EBDD-4EF4-B55C-4DDACC9A1BDC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7" name="TextovéPole 28">
                <a:extLst>
                  <a:ext uri="{FF2B5EF4-FFF2-40B4-BE49-F238E27FC236}">
                    <a16:creationId xmlns:a16="http://schemas.microsoft.com/office/drawing/2014/main" id="{3C3DBF20-89AA-4EF2-B8C2-F4BFEF133CA3}"/>
                  </a:ext>
                </a:extLst>
              </p:cNvPr>
              <p:cNvSpPr txBox="1"/>
              <p:nvPr/>
            </p:nvSpPr>
            <p:spPr>
              <a:xfrm>
                <a:off x="10630649" y="3526984"/>
                <a:ext cx="1777011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kumimoji="0" lang="cs-CZ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b="1" kern="0" dirty="0">
                    <a:latin typeface="+mj-lt"/>
                  </a:rPr>
                  <a:t>Sc</a:t>
                </a:r>
                <a:r>
                  <a:rPr lang="cs-CZ" sz="1200" b="1" dirty="0">
                    <a:latin typeface="+mj-lt"/>
                  </a:rPr>
                  <a:t>énář I</a:t>
                </a:r>
                <a:r>
                  <a:rPr lang="en-US" sz="1200" b="1" dirty="0">
                    <a:latin typeface="+mj-lt"/>
                  </a:rPr>
                  <a:t>I</a:t>
                </a:r>
                <a:r>
                  <a:rPr lang="cs-CZ" sz="1200" b="1" dirty="0">
                    <a:latin typeface="+mj-lt"/>
                  </a:rPr>
                  <a:t>I:</a:t>
                </a:r>
                <a:r>
                  <a:rPr lang="cs-CZ" sz="1200" dirty="0">
                    <a:latin typeface="+mj-lt"/>
                  </a:rPr>
                  <a:t> rizikový vývoj s významnými zdravotními dopady, </a:t>
                </a:r>
                <a:r>
                  <a:rPr lang="cs-CZ" sz="1200" u="sng" dirty="0">
                    <a:latin typeface="+mj-lt"/>
                  </a:rPr>
                  <a:t>významný</a:t>
                </a:r>
                <a:r>
                  <a:rPr lang="cs-CZ" sz="1200" dirty="0">
                    <a:latin typeface="+mj-lt"/>
                  </a:rPr>
                  <a:t> další růst</a:t>
                </a: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I:</a:t>
                </a:r>
                <a:r>
                  <a:rPr lang="cs-CZ" sz="1200" dirty="0"/>
                  <a:t> rizikový vývoj s významnými zdravotními dopady, </a:t>
                </a:r>
                <a:r>
                  <a:rPr lang="cs-CZ" sz="1200" u="sng" dirty="0"/>
                  <a:t>střední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</a:t>
                </a:r>
                <a:r>
                  <a:rPr lang="cs-CZ" sz="1200" dirty="0"/>
                  <a:t>: rizikový vývoj s významnými zdravotními dopady, </a:t>
                </a:r>
                <a:r>
                  <a:rPr lang="cs-CZ" sz="1200" u="sng" dirty="0"/>
                  <a:t>nízký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latin typeface="+mj-lt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36E991DD-4925-4A95-A88D-9F63F0F0B5A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78796875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aj Vysočin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18012606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7" name="TextBox 9">
            <a:extLst>
              <a:ext uri="{FF2B5EF4-FFF2-40B4-BE49-F238E27FC236}">
                <a16:creationId xmlns:a16="http://schemas.microsoft.com/office/drawing/2014/main" id="{7ACC4245-270D-4EA9-A6C3-33A4CF62572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18" name="Skupina 17">
            <a:extLst>
              <a:ext uri="{FF2B5EF4-FFF2-40B4-BE49-F238E27FC236}">
                <a16:creationId xmlns:a16="http://schemas.microsoft.com/office/drawing/2014/main" id="{80295F5C-C43E-44F1-812C-53D626FE9D1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677656"/>
            <a:chOff x="9993159" y="3767843"/>
            <a:chExt cx="2148963" cy="2677656"/>
          </a:xfrm>
        </p:grpSpPr>
        <p:grpSp>
          <p:nvGrpSpPr>
            <p:cNvPr id="19" name="Skupina 18">
              <a:extLst>
                <a:ext uri="{FF2B5EF4-FFF2-40B4-BE49-F238E27FC236}">
                  <a16:creationId xmlns:a16="http://schemas.microsoft.com/office/drawing/2014/main" id="{3D71D71D-7F94-43D7-80F8-BCB810687347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148963" cy="2677656"/>
              <a:chOff x="10258697" y="3526984"/>
              <a:chExt cx="2148963" cy="2677656"/>
            </a:xfrm>
          </p:grpSpPr>
          <p:cxnSp>
            <p:nvCxnSpPr>
              <p:cNvPr id="28" name="Přímá spojnice 27">
                <a:extLst>
                  <a:ext uri="{FF2B5EF4-FFF2-40B4-BE49-F238E27FC236}">
                    <a16:creationId xmlns:a16="http://schemas.microsoft.com/office/drawing/2014/main" id="{61013F33-A0E6-442A-9D04-6EBCC938B28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34AA6C11-1C69-423D-9508-63C97A72479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0" name="Obdélník 29">
                <a:extLst>
                  <a:ext uri="{FF2B5EF4-FFF2-40B4-BE49-F238E27FC236}">
                    <a16:creationId xmlns:a16="http://schemas.microsoft.com/office/drawing/2014/main" id="{562E7B5F-A9D1-4972-9BFD-512FBC40AEFE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1" name="TextovéPole 28">
                <a:extLst>
                  <a:ext uri="{FF2B5EF4-FFF2-40B4-BE49-F238E27FC236}">
                    <a16:creationId xmlns:a16="http://schemas.microsoft.com/office/drawing/2014/main" id="{37937AF6-9991-4465-A555-3A0778250449}"/>
                  </a:ext>
                </a:extLst>
              </p:cNvPr>
              <p:cNvSpPr txBox="1"/>
              <p:nvPr/>
            </p:nvSpPr>
            <p:spPr>
              <a:xfrm>
                <a:off x="10630649" y="3526984"/>
                <a:ext cx="1777011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kumimoji="0" lang="cs-CZ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b="1" kern="0" dirty="0">
                    <a:latin typeface="+mj-lt"/>
                  </a:rPr>
                  <a:t>Sc</a:t>
                </a:r>
                <a:r>
                  <a:rPr lang="cs-CZ" sz="1200" b="1" dirty="0">
                    <a:latin typeface="+mj-lt"/>
                  </a:rPr>
                  <a:t>énář I</a:t>
                </a:r>
                <a:r>
                  <a:rPr lang="en-US" sz="1200" b="1" dirty="0">
                    <a:latin typeface="+mj-lt"/>
                  </a:rPr>
                  <a:t>I</a:t>
                </a:r>
                <a:r>
                  <a:rPr lang="cs-CZ" sz="1200" b="1" dirty="0">
                    <a:latin typeface="+mj-lt"/>
                  </a:rPr>
                  <a:t>I:</a:t>
                </a:r>
                <a:r>
                  <a:rPr lang="cs-CZ" sz="1200" dirty="0">
                    <a:latin typeface="+mj-lt"/>
                  </a:rPr>
                  <a:t> rizikový vývoj s významnými zdravotními dopady, </a:t>
                </a:r>
                <a:r>
                  <a:rPr lang="cs-CZ" sz="1200" u="sng" dirty="0">
                    <a:latin typeface="+mj-lt"/>
                  </a:rPr>
                  <a:t>významný</a:t>
                </a:r>
                <a:r>
                  <a:rPr lang="cs-CZ" sz="1200" dirty="0">
                    <a:latin typeface="+mj-lt"/>
                  </a:rPr>
                  <a:t> další růst</a:t>
                </a: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I:</a:t>
                </a:r>
                <a:r>
                  <a:rPr lang="cs-CZ" sz="1200" dirty="0"/>
                  <a:t> rizikový vývoj s významnými zdravotními dopady, </a:t>
                </a:r>
                <a:r>
                  <a:rPr lang="cs-CZ" sz="1200" u="sng" dirty="0"/>
                  <a:t>střední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</a:t>
                </a:r>
                <a:r>
                  <a:rPr lang="cs-CZ" sz="1200" dirty="0"/>
                  <a:t>: rizikový vývoj s významnými zdravotními dopady, </a:t>
                </a:r>
                <a:r>
                  <a:rPr lang="cs-CZ" sz="1200" u="sng" dirty="0"/>
                  <a:t>nízký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latin typeface="+mj-lt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0067CC31-EC72-4989-87E4-F816E6A3BCA8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54427534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morav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9968036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7" name="TextBox 9">
            <a:extLst>
              <a:ext uri="{FF2B5EF4-FFF2-40B4-BE49-F238E27FC236}">
                <a16:creationId xmlns:a16="http://schemas.microsoft.com/office/drawing/2014/main" id="{ACD2EA41-FCBA-4429-8073-C22571621C8F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39496528-C6E4-4F10-A68F-B834A70EE7B2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677656"/>
            <a:chOff x="9993159" y="3767843"/>
            <a:chExt cx="2148963" cy="2677656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BC09A4A9-6314-4910-B4E7-E928F422D3D0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148963" cy="2677656"/>
              <a:chOff x="10258697" y="3526984"/>
              <a:chExt cx="2148963" cy="2677656"/>
            </a:xfrm>
          </p:grpSpPr>
          <p:cxnSp>
            <p:nvCxnSpPr>
              <p:cNvPr id="26" name="Přímá spojnice 25">
                <a:extLst>
                  <a:ext uri="{FF2B5EF4-FFF2-40B4-BE49-F238E27FC236}">
                    <a16:creationId xmlns:a16="http://schemas.microsoft.com/office/drawing/2014/main" id="{440DA3AA-39B7-45E6-8D19-3CED21F4C58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39CB4A6A-E775-4CD5-A118-D0CF681EEFA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3" name="Obdélník 32">
                <a:extLst>
                  <a:ext uri="{FF2B5EF4-FFF2-40B4-BE49-F238E27FC236}">
                    <a16:creationId xmlns:a16="http://schemas.microsoft.com/office/drawing/2014/main" id="{958C7396-2A01-4B27-8653-0EADA6A45C8A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7" name="TextovéPole 28">
                <a:extLst>
                  <a:ext uri="{FF2B5EF4-FFF2-40B4-BE49-F238E27FC236}">
                    <a16:creationId xmlns:a16="http://schemas.microsoft.com/office/drawing/2014/main" id="{5416D1FD-41B5-4E06-9028-14DFEEDD47A7}"/>
                  </a:ext>
                </a:extLst>
              </p:cNvPr>
              <p:cNvSpPr txBox="1"/>
              <p:nvPr/>
            </p:nvSpPr>
            <p:spPr>
              <a:xfrm>
                <a:off x="10630649" y="3526984"/>
                <a:ext cx="1777011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kumimoji="0" lang="cs-CZ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b="1" kern="0" dirty="0">
                    <a:latin typeface="+mj-lt"/>
                  </a:rPr>
                  <a:t>Sc</a:t>
                </a:r>
                <a:r>
                  <a:rPr lang="cs-CZ" sz="1200" b="1" dirty="0">
                    <a:latin typeface="+mj-lt"/>
                  </a:rPr>
                  <a:t>énář I</a:t>
                </a:r>
                <a:r>
                  <a:rPr lang="en-US" sz="1200" b="1" dirty="0">
                    <a:latin typeface="+mj-lt"/>
                  </a:rPr>
                  <a:t>I</a:t>
                </a:r>
                <a:r>
                  <a:rPr lang="cs-CZ" sz="1200" b="1" dirty="0">
                    <a:latin typeface="+mj-lt"/>
                  </a:rPr>
                  <a:t>I:</a:t>
                </a:r>
                <a:r>
                  <a:rPr lang="cs-CZ" sz="1200" dirty="0">
                    <a:latin typeface="+mj-lt"/>
                  </a:rPr>
                  <a:t> rizikový vývoj s významnými zdravotními dopady, </a:t>
                </a:r>
                <a:r>
                  <a:rPr lang="cs-CZ" sz="1200" u="sng" dirty="0">
                    <a:latin typeface="+mj-lt"/>
                  </a:rPr>
                  <a:t>významný</a:t>
                </a:r>
                <a:r>
                  <a:rPr lang="cs-CZ" sz="1200" dirty="0">
                    <a:latin typeface="+mj-lt"/>
                  </a:rPr>
                  <a:t> další růst</a:t>
                </a: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I:</a:t>
                </a:r>
                <a:r>
                  <a:rPr lang="cs-CZ" sz="1200" dirty="0"/>
                  <a:t> rizikový vývoj s významnými zdravotními dopady, </a:t>
                </a:r>
                <a:r>
                  <a:rPr lang="cs-CZ" sz="1200" u="sng" dirty="0"/>
                  <a:t>střední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</a:t>
                </a:r>
                <a:r>
                  <a:rPr lang="cs-CZ" sz="1200" dirty="0"/>
                  <a:t>: rizikový vývoj s významnými zdravotními dopady, </a:t>
                </a:r>
                <a:r>
                  <a:rPr lang="cs-CZ" sz="1200" u="sng" dirty="0"/>
                  <a:t>nízký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latin typeface="+mj-lt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8D20B76-C197-49F9-A2D0-A23F54E6D9D2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2440334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l. m. Prah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254230" y="3518139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84815053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9F0F76BF-15E3-4919-B81B-ED1542EFDF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7363282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7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0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4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6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9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21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66AA15DD-C163-441A-A50F-490BC320DE7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969265" y="2981877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B63DD778-D50E-489D-8CF7-2EB53C9505B3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73933" y="3835663"/>
            <a:ext cx="2221115" cy="2677656"/>
            <a:chOff x="9993159" y="3767843"/>
            <a:chExt cx="2221115" cy="2677656"/>
          </a:xfrm>
        </p:grpSpPr>
        <p:grpSp>
          <p:nvGrpSpPr>
            <p:cNvPr id="27" name="Skupina 26">
              <a:extLst>
                <a:ext uri="{FF2B5EF4-FFF2-40B4-BE49-F238E27FC236}">
                  <a16:creationId xmlns:a16="http://schemas.microsoft.com/office/drawing/2014/main" id="{084F9998-49FA-4AD3-ABE4-3227AB2AC8C1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304AE3BB-231F-4882-A36C-B9F8799A178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94A89014-77F1-4D57-991A-42EA77FD2D8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1" name="Obdélník 30">
                <a:extLst>
                  <a:ext uri="{FF2B5EF4-FFF2-40B4-BE49-F238E27FC236}">
                    <a16:creationId xmlns:a16="http://schemas.microsoft.com/office/drawing/2014/main" id="{18903004-62D6-41C3-AC5E-9CF5BB0690C1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2" name="TextovéPole 28">
                <a:extLst>
                  <a:ext uri="{FF2B5EF4-FFF2-40B4-BE49-F238E27FC236}">
                    <a16:creationId xmlns:a16="http://schemas.microsoft.com/office/drawing/2014/main" id="{89CA642C-8CFE-4B2D-B8BE-27D6FBD82005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</a:t>
                </a:r>
                <a:r>
                  <a:rPr kumimoji="0" lang="cs-CZ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izikový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4E2FF75B-1AEE-4275-B495-EBB24929FADF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5397192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lomou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84777480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7" name="TextBox 9">
            <a:extLst>
              <a:ext uri="{FF2B5EF4-FFF2-40B4-BE49-F238E27FC236}">
                <a16:creationId xmlns:a16="http://schemas.microsoft.com/office/drawing/2014/main" id="{9413CE05-D79C-4427-A1B6-45C21407337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A448987D-26D2-401F-A068-241B54B4732E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677656"/>
            <a:chOff x="9993159" y="3767843"/>
            <a:chExt cx="2148963" cy="2677656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FDD42158-EB8C-4ED1-97CA-9FA0BAC3EE31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148963" cy="2677656"/>
              <a:chOff x="10258697" y="3526984"/>
              <a:chExt cx="2148963" cy="2677656"/>
            </a:xfrm>
          </p:grpSpPr>
          <p:cxnSp>
            <p:nvCxnSpPr>
              <p:cNvPr id="26" name="Přímá spojnice 25">
                <a:extLst>
                  <a:ext uri="{FF2B5EF4-FFF2-40B4-BE49-F238E27FC236}">
                    <a16:creationId xmlns:a16="http://schemas.microsoft.com/office/drawing/2014/main" id="{19F20E13-92AA-4767-8004-2103B17A61F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F7DFDC46-8893-46BC-A4FE-5A414FB621C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3" name="Obdélník 32">
                <a:extLst>
                  <a:ext uri="{FF2B5EF4-FFF2-40B4-BE49-F238E27FC236}">
                    <a16:creationId xmlns:a16="http://schemas.microsoft.com/office/drawing/2014/main" id="{4FAB226D-3F37-4087-A150-3F0AAA0E1E18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7" name="TextovéPole 28">
                <a:extLst>
                  <a:ext uri="{FF2B5EF4-FFF2-40B4-BE49-F238E27FC236}">
                    <a16:creationId xmlns:a16="http://schemas.microsoft.com/office/drawing/2014/main" id="{5A17D7E5-1D17-4349-9546-41D457604A75}"/>
                  </a:ext>
                </a:extLst>
              </p:cNvPr>
              <p:cNvSpPr txBox="1"/>
              <p:nvPr/>
            </p:nvSpPr>
            <p:spPr>
              <a:xfrm>
                <a:off x="10630649" y="3526984"/>
                <a:ext cx="1777011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kumimoji="0" lang="cs-CZ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b="1" kern="0" dirty="0">
                    <a:latin typeface="+mj-lt"/>
                  </a:rPr>
                  <a:t>Sc</a:t>
                </a:r>
                <a:r>
                  <a:rPr lang="cs-CZ" sz="1200" b="1" dirty="0">
                    <a:latin typeface="+mj-lt"/>
                  </a:rPr>
                  <a:t>énář I</a:t>
                </a:r>
                <a:r>
                  <a:rPr lang="en-US" sz="1200" b="1" dirty="0">
                    <a:latin typeface="+mj-lt"/>
                  </a:rPr>
                  <a:t>I</a:t>
                </a:r>
                <a:r>
                  <a:rPr lang="cs-CZ" sz="1200" b="1" dirty="0">
                    <a:latin typeface="+mj-lt"/>
                  </a:rPr>
                  <a:t>I:</a:t>
                </a:r>
                <a:r>
                  <a:rPr lang="cs-CZ" sz="1200" dirty="0">
                    <a:latin typeface="+mj-lt"/>
                  </a:rPr>
                  <a:t> rizikový vývoj s významnými zdravotními dopady, </a:t>
                </a:r>
                <a:r>
                  <a:rPr lang="cs-CZ" sz="1200" u="sng" dirty="0">
                    <a:latin typeface="+mj-lt"/>
                  </a:rPr>
                  <a:t>významný</a:t>
                </a:r>
                <a:r>
                  <a:rPr lang="cs-CZ" sz="1200" dirty="0">
                    <a:latin typeface="+mj-lt"/>
                  </a:rPr>
                  <a:t> další růst</a:t>
                </a: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I:</a:t>
                </a:r>
                <a:r>
                  <a:rPr lang="cs-CZ" sz="1200" dirty="0"/>
                  <a:t> rizikový vývoj s významnými zdravotními dopady, </a:t>
                </a:r>
                <a:r>
                  <a:rPr lang="cs-CZ" sz="1200" u="sng" dirty="0"/>
                  <a:t>střední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</a:t>
                </a:r>
                <a:r>
                  <a:rPr lang="cs-CZ" sz="1200" dirty="0"/>
                  <a:t>: rizikový vývoj s významnými zdravotními dopady, </a:t>
                </a:r>
                <a:r>
                  <a:rPr lang="cs-CZ" sz="1200" u="sng" dirty="0"/>
                  <a:t>nízký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latin typeface="+mj-lt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D8B5F7E5-76E0-4EC5-8248-F20C885016D9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60182819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lín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89965595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7" name="TextBox 9">
            <a:extLst>
              <a:ext uri="{FF2B5EF4-FFF2-40B4-BE49-F238E27FC236}">
                <a16:creationId xmlns:a16="http://schemas.microsoft.com/office/drawing/2014/main" id="{78137BD9-621D-4D18-9A29-9D936CE2D36F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CE761C94-662E-4C2D-8C4E-D8F6F7EC51C9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677656"/>
            <a:chOff x="9993159" y="3767843"/>
            <a:chExt cx="2148963" cy="2677656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8D4B6B1F-31F0-4809-83CD-7FA34AB2C77C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148963" cy="2677656"/>
              <a:chOff x="10258697" y="3526984"/>
              <a:chExt cx="2148963" cy="2677656"/>
            </a:xfrm>
          </p:grpSpPr>
          <p:cxnSp>
            <p:nvCxnSpPr>
              <p:cNvPr id="26" name="Přímá spojnice 25">
                <a:extLst>
                  <a:ext uri="{FF2B5EF4-FFF2-40B4-BE49-F238E27FC236}">
                    <a16:creationId xmlns:a16="http://schemas.microsoft.com/office/drawing/2014/main" id="{F5C1292E-494C-47C1-AE2E-D502A64DD79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456DEA52-1A13-438B-9777-16D904BABF2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3" name="Obdélník 32">
                <a:extLst>
                  <a:ext uri="{FF2B5EF4-FFF2-40B4-BE49-F238E27FC236}">
                    <a16:creationId xmlns:a16="http://schemas.microsoft.com/office/drawing/2014/main" id="{F3CEEE91-F1D6-4FD2-AB4D-B73BA0375F82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7" name="TextovéPole 28">
                <a:extLst>
                  <a:ext uri="{FF2B5EF4-FFF2-40B4-BE49-F238E27FC236}">
                    <a16:creationId xmlns:a16="http://schemas.microsoft.com/office/drawing/2014/main" id="{EA8A8539-179C-45FD-BCA3-3EDABB10F48A}"/>
                  </a:ext>
                </a:extLst>
              </p:cNvPr>
              <p:cNvSpPr txBox="1"/>
              <p:nvPr/>
            </p:nvSpPr>
            <p:spPr>
              <a:xfrm>
                <a:off x="10630649" y="3526984"/>
                <a:ext cx="1777011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kumimoji="0" lang="cs-CZ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b="1" kern="0" dirty="0">
                    <a:latin typeface="+mj-lt"/>
                  </a:rPr>
                  <a:t>Sc</a:t>
                </a:r>
                <a:r>
                  <a:rPr lang="cs-CZ" sz="1200" b="1" dirty="0">
                    <a:latin typeface="+mj-lt"/>
                  </a:rPr>
                  <a:t>énář I</a:t>
                </a:r>
                <a:r>
                  <a:rPr lang="en-US" sz="1200" b="1" dirty="0">
                    <a:latin typeface="+mj-lt"/>
                  </a:rPr>
                  <a:t>I</a:t>
                </a:r>
                <a:r>
                  <a:rPr lang="cs-CZ" sz="1200" b="1" dirty="0">
                    <a:latin typeface="+mj-lt"/>
                  </a:rPr>
                  <a:t>I:</a:t>
                </a:r>
                <a:r>
                  <a:rPr lang="cs-CZ" sz="1200" dirty="0">
                    <a:latin typeface="+mj-lt"/>
                  </a:rPr>
                  <a:t> rizikový vývoj s významnými zdravotními dopady, </a:t>
                </a:r>
                <a:r>
                  <a:rPr lang="cs-CZ" sz="1200" u="sng" dirty="0">
                    <a:latin typeface="+mj-lt"/>
                  </a:rPr>
                  <a:t>významný</a:t>
                </a:r>
                <a:r>
                  <a:rPr lang="cs-CZ" sz="1200" dirty="0">
                    <a:latin typeface="+mj-lt"/>
                  </a:rPr>
                  <a:t> další růst</a:t>
                </a: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I:</a:t>
                </a:r>
                <a:r>
                  <a:rPr lang="cs-CZ" sz="1200" dirty="0"/>
                  <a:t> rizikový vývoj s významnými zdravotními dopady, </a:t>
                </a:r>
                <a:r>
                  <a:rPr lang="cs-CZ" sz="1200" u="sng" dirty="0"/>
                  <a:t>střední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</a:t>
                </a:r>
                <a:r>
                  <a:rPr lang="cs-CZ" sz="1200" dirty="0"/>
                  <a:t>: rizikový vývoj s významnými zdravotními dopady, </a:t>
                </a:r>
                <a:r>
                  <a:rPr lang="cs-CZ" sz="1200" u="sng" dirty="0"/>
                  <a:t>nízký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latin typeface="+mj-lt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ECD9AC91-E4A0-4883-9406-E597C89D1F8F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38338876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ravskoslez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82999049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7" name="TextBox 9">
            <a:extLst>
              <a:ext uri="{FF2B5EF4-FFF2-40B4-BE49-F238E27FC236}">
                <a16:creationId xmlns:a16="http://schemas.microsoft.com/office/drawing/2014/main" id="{6E80C0D4-30CA-4500-A92D-1B016D59DB8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0D290F18-2A1C-4C67-B9BE-8035FD9E7CAD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677656"/>
            <a:chOff x="9993159" y="3767843"/>
            <a:chExt cx="2148963" cy="2677656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0F44D52-9E73-4DA6-9C20-A7B597586FD6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148963" cy="2677656"/>
              <a:chOff x="10258697" y="3526984"/>
              <a:chExt cx="2148963" cy="2677656"/>
            </a:xfrm>
          </p:grpSpPr>
          <p:cxnSp>
            <p:nvCxnSpPr>
              <p:cNvPr id="26" name="Přímá spojnice 25">
                <a:extLst>
                  <a:ext uri="{FF2B5EF4-FFF2-40B4-BE49-F238E27FC236}">
                    <a16:creationId xmlns:a16="http://schemas.microsoft.com/office/drawing/2014/main" id="{5CFF7943-C8E8-400C-84DA-0E7CBA4D345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89E5A548-BE3F-419F-ADB0-C831C165FF9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3" name="Obdélník 32">
                <a:extLst>
                  <a:ext uri="{FF2B5EF4-FFF2-40B4-BE49-F238E27FC236}">
                    <a16:creationId xmlns:a16="http://schemas.microsoft.com/office/drawing/2014/main" id="{9AAE3093-F7D3-42F3-965A-779E4C14A14A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7" name="TextovéPole 28">
                <a:extLst>
                  <a:ext uri="{FF2B5EF4-FFF2-40B4-BE49-F238E27FC236}">
                    <a16:creationId xmlns:a16="http://schemas.microsoft.com/office/drawing/2014/main" id="{5C106B01-FB7C-4210-A93F-EBBA3CD5F246}"/>
                  </a:ext>
                </a:extLst>
              </p:cNvPr>
              <p:cNvSpPr txBox="1"/>
              <p:nvPr/>
            </p:nvSpPr>
            <p:spPr>
              <a:xfrm>
                <a:off x="10630649" y="3526984"/>
                <a:ext cx="1777011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kumimoji="0" lang="cs-CZ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b="1" kern="0" dirty="0">
                    <a:latin typeface="+mj-lt"/>
                  </a:rPr>
                  <a:t>Sc</a:t>
                </a:r>
                <a:r>
                  <a:rPr lang="cs-CZ" sz="1200" b="1" dirty="0">
                    <a:latin typeface="+mj-lt"/>
                  </a:rPr>
                  <a:t>énář I</a:t>
                </a:r>
                <a:r>
                  <a:rPr lang="en-US" sz="1200" b="1" dirty="0">
                    <a:latin typeface="+mj-lt"/>
                  </a:rPr>
                  <a:t>I</a:t>
                </a:r>
                <a:r>
                  <a:rPr lang="cs-CZ" sz="1200" b="1" dirty="0">
                    <a:latin typeface="+mj-lt"/>
                  </a:rPr>
                  <a:t>I:</a:t>
                </a:r>
                <a:r>
                  <a:rPr lang="cs-CZ" sz="1200" dirty="0">
                    <a:latin typeface="+mj-lt"/>
                  </a:rPr>
                  <a:t> rizikový vývoj s významnými zdravotními dopady, </a:t>
                </a:r>
                <a:r>
                  <a:rPr lang="cs-CZ" sz="1200" u="sng" dirty="0">
                    <a:latin typeface="+mj-lt"/>
                  </a:rPr>
                  <a:t>významný</a:t>
                </a:r>
                <a:r>
                  <a:rPr lang="cs-CZ" sz="1200" dirty="0">
                    <a:latin typeface="+mj-lt"/>
                  </a:rPr>
                  <a:t> další růst</a:t>
                </a: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I:</a:t>
                </a:r>
                <a:r>
                  <a:rPr lang="cs-CZ" sz="1200" dirty="0"/>
                  <a:t> rizikový vývoj s významnými zdravotními dopady, </a:t>
                </a:r>
                <a:r>
                  <a:rPr lang="cs-CZ" sz="1200" u="sng" dirty="0"/>
                  <a:t>střední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</a:t>
                </a:r>
                <a:r>
                  <a:rPr lang="cs-CZ" sz="1200" dirty="0"/>
                  <a:t>: rizikový vývoj s významnými zdravotními dopady, </a:t>
                </a:r>
                <a:r>
                  <a:rPr lang="cs-CZ" sz="1200" u="sng" dirty="0"/>
                  <a:t>nízký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latin typeface="+mj-lt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518976F-8EC6-4649-A5CC-CCEB203B3A91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3209809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ředoče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254230" y="3518139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7213300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DDE558FA-10F6-45E9-82BD-1109CEA119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2811606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4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5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6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9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5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97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76F6289C-89BA-4D0A-B69E-2C7217F9136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969265" y="2981877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C00E1E93-444A-4C06-B0FE-FE9CEA57DEAD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73933" y="3835663"/>
            <a:ext cx="2221115" cy="2677656"/>
            <a:chOff x="9993159" y="3767843"/>
            <a:chExt cx="2221115" cy="2677656"/>
          </a:xfrm>
        </p:grpSpPr>
        <p:grpSp>
          <p:nvGrpSpPr>
            <p:cNvPr id="27" name="Skupina 26">
              <a:extLst>
                <a:ext uri="{FF2B5EF4-FFF2-40B4-BE49-F238E27FC236}">
                  <a16:creationId xmlns:a16="http://schemas.microsoft.com/office/drawing/2014/main" id="{10C161A9-9849-4BC6-8622-020085927811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87AA8598-E6D5-4AC2-8EE6-411EBB084FC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C1C7562F-D377-4863-9BCF-D7EC317EBB2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1" name="Obdélník 30">
                <a:extLst>
                  <a:ext uri="{FF2B5EF4-FFF2-40B4-BE49-F238E27FC236}">
                    <a16:creationId xmlns:a16="http://schemas.microsoft.com/office/drawing/2014/main" id="{DB12B373-F56A-4A06-A11E-839F98AA5C38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2" name="TextovéPole 28">
                <a:extLst>
                  <a:ext uri="{FF2B5EF4-FFF2-40B4-BE49-F238E27FC236}">
                    <a16:creationId xmlns:a16="http://schemas.microsoft.com/office/drawing/2014/main" id="{80E47861-5224-47BB-82DB-BD38E651C1A7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</a:t>
                </a:r>
                <a:r>
                  <a:rPr kumimoji="0" lang="cs-CZ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izikový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0BEDB8C7-F6A9-4AE2-B18C-A81D3E252469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6863404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če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254230" y="3518139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41462931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F45F3728-AA06-4F53-AF88-448FEEB017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0376078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8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7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1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6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66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DBA47C9C-9057-40BA-BD3C-08734E97BADF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969265" y="2981877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B1741DEA-7BE7-4653-AF16-3E5D019C8DF0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73933" y="3835663"/>
            <a:ext cx="2221115" cy="2677656"/>
            <a:chOff x="9993159" y="3767843"/>
            <a:chExt cx="2221115" cy="2677656"/>
          </a:xfrm>
        </p:grpSpPr>
        <p:grpSp>
          <p:nvGrpSpPr>
            <p:cNvPr id="27" name="Skupina 26">
              <a:extLst>
                <a:ext uri="{FF2B5EF4-FFF2-40B4-BE49-F238E27FC236}">
                  <a16:creationId xmlns:a16="http://schemas.microsoft.com/office/drawing/2014/main" id="{E181CE21-C0E6-4687-AA94-4312DCB59E5C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5C2D2497-919F-41FD-8E42-934FC97AF93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A71F5990-F184-475D-910A-50B4D24DFF9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1" name="Obdélník 30">
                <a:extLst>
                  <a:ext uri="{FF2B5EF4-FFF2-40B4-BE49-F238E27FC236}">
                    <a16:creationId xmlns:a16="http://schemas.microsoft.com/office/drawing/2014/main" id="{BF8CE906-F11E-42F1-A6E5-843CF60C01D8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2" name="TextovéPole 28">
                <a:extLst>
                  <a:ext uri="{FF2B5EF4-FFF2-40B4-BE49-F238E27FC236}">
                    <a16:creationId xmlns:a16="http://schemas.microsoft.com/office/drawing/2014/main" id="{08471F1A-5C47-42A2-B14F-B76AD2CA1547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</a:t>
                </a:r>
                <a:r>
                  <a:rPr kumimoji="0" lang="cs-CZ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izikový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03164A2A-C406-4920-BC08-BADC22A26BC2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1925337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zeň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254230" y="3518139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17080512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3E7E1C31-9333-4159-973A-E797E3D16D4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9039947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9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2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78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F333F7B9-85E5-409B-A927-455ED7817C7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969265" y="2981877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2C00BF2A-EAF1-412B-BD0C-39631135D804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73933" y="3835663"/>
            <a:ext cx="2221115" cy="2677656"/>
            <a:chOff x="9993159" y="3767843"/>
            <a:chExt cx="2221115" cy="2677656"/>
          </a:xfrm>
        </p:grpSpPr>
        <p:grpSp>
          <p:nvGrpSpPr>
            <p:cNvPr id="27" name="Skupina 26">
              <a:extLst>
                <a:ext uri="{FF2B5EF4-FFF2-40B4-BE49-F238E27FC236}">
                  <a16:creationId xmlns:a16="http://schemas.microsoft.com/office/drawing/2014/main" id="{49E7B1EA-921D-4473-B0D6-989F0BB7B0ED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B008DD3F-AFEF-4FBA-A068-F244A648FFC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4B304FA6-F9CB-4980-8341-650094EE720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1" name="Obdélník 30">
                <a:extLst>
                  <a:ext uri="{FF2B5EF4-FFF2-40B4-BE49-F238E27FC236}">
                    <a16:creationId xmlns:a16="http://schemas.microsoft.com/office/drawing/2014/main" id="{EDB656BF-DA61-440F-B251-C69084463CBB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2" name="TextovéPole 28">
                <a:extLst>
                  <a:ext uri="{FF2B5EF4-FFF2-40B4-BE49-F238E27FC236}">
                    <a16:creationId xmlns:a16="http://schemas.microsoft.com/office/drawing/2014/main" id="{99E02798-4D9F-44A2-A20F-42D7E52892CD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</a:t>
                </a:r>
                <a:r>
                  <a:rPr kumimoji="0" lang="cs-CZ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izikový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099636C0-FFEA-4626-B1BF-CECC37BA4E6D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898075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rlovar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254230" y="3518139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55392072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76D03678-B788-4CA0-9DA2-D48560F9B1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2726525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6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39B9621C-615E-4BF3-B171-07D313E53BA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969265" y="2981877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EAC16258-A880-43CA-9B31-A682C106C155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73933" y="3835663"/>
            <a:ext cx="2221115" cy="2677656"/>
            <a:chOff x="9993159" y="3767843"/>
            <a:chExt cx="2221115" cy="2677656"/>
          </a:xfrm>
        </p:grpSpPr>
        <p:grpSp>
          <p:nvGrpSpPr>
            <p:cNvPr id="27" name="Skupina 26">
              <a:extLst>
                <a:ext uri="{FF2B5EF4-FFF2-40B4-BE49-F238E27FC236}">
                  <a16:creationId xmlns:a16="http://schemas.microsoft.com/office/drawing/2014/main" id="{7A637360-FE16-40AA-AA03-0B2498573AB3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F8A3657B-99EF-4BCF-8846-DE840084848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0DA250D4-727E-440E-A1C0-F10DB964F5B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1" name="Obdélník 30">
                <a:extLst>
                  <a:ext uri="{FF2B5EF4-FFF2-40B4-BE49-F238E27FC236}">
                    <a16:creationId xmlns:a16="http://schemas.microsoft.com/office/drawing/2014/main" id="{692F6963-E607-4DF6-B51E-C4562CE5F97E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7" name="TextovéPole 28">
                <a:extLst>
                  <a:ext uri="{FF2B5EF4-FFF2-40B4-BE49-F238E27FC236}">
                    <a16:creationId xmlns:a16="http://schemas.microsoft.com/office/drawing/2014/main" id="{9972015D-6BE8-4A9E-8355-DE58587BF30F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</a:t>
                </a:r>
                <a:r>
                  <a:rPr kumimoji="0" lang="cs-CZ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izikový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A2F45944-F405-4C53-A462-1FFBB36E482F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0247395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Úst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254230" y="3518139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11221210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345299CB-CF5F-456F-B705-ED1193B0FD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1080557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8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6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1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71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B497FD86-487B-4EE2-8866-B23310EBA67B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969265" y="2981877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39536A4C-75B4-496E-A510-7293E0A299F0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73933" y="3835663"/>
            <a:ext cx="2221115" cy="2677656"/>
            <a:chOff x="9993159" y="3767843"/>
            <a:chExt cx="2221115" cy="2677656"/>
          </a:xfrm>
        </p:grpSpPr>
        <p:grpSp>
          <p:nvGrpSpPr>
            <p:cNvPr id="27" name="Skupina 26">
              <a:extLst>
                <a:ext uri="{FF2B5EF4-FFF2-40B4-BE49-F238E27FC236}">
                  <a16:creationId xmlns:a16="http://schemas.microsoft.com/office/drawing/2014/main" id="{07FF187A-392E-4FA6-AD5D-9C63D4485685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0C6AACDA-6E1B-415F-88DD-92A76CAFCD2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8CE81780-03EA-47D1-B8FA-394499EB990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1" name="Obdélník 30">
                <a:extLst>
                  <a:ext uri="{FF2B5EF4-FFF2-40B4-BE49-F238E27FC236}">
                    <a16:creationId xmlns:a16="http://schemas.microsoft.com/office/drawing/2014/main" id="{05B9ABF9-4A8B-4050-9A71-C5F15946D1DC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2" name="TextovéPole 28">
                <a:extLst>
                  <a:ext uri="{FF2B5EF4-FFF2-40B4-BE49-F238E27FC236}">
                    <a16:creationId xmlns:a16="http://schemas.microsoft.com/office/drawing/2014/main" id="{E8BF3AAB-2A05-4186-9944-9F6E59465356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</a:t>
                </a:r>
                <a:r>
                  <a:rPr kumimoji="0" lang="cs-CZ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izikový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410B0EAC-80FE-4BF9-866B-975B441F499B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1939176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ber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254230" y="3518139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74294278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09F61E5D-68F5-4815-9B7C-0CB3DABFD8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0549920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6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5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31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8D8994CA-6F4E-47D5-AD7C-ED6D03543811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969265" y="2981877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D2394C2F-0BEF-476B-A38F-285752736319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73933" y="3835663"/>
            <a:ext cx="2221115" cy="2677656"/>
            <a:chOff x="9993159" y="3767843"/>
            <a:chExt cx="2221115" cy="2677656"/>
          </a:xfrm>
        </p:grpSpPr>
        <p:grpSp>
          <p:nvGrpSpPr>
            <p:cNvPr id="27" name="Skupina 26">
              <a:extLst>
                <a:ext uri="{FF2B5EF4-FFF2-40B4-BE49-F238E27FC236}">
                  <a16:creationId xmlns:a16="http://schemas.microsoft.com/office/drawing/2014/main" id="{4EE64EC0-F76A-4A6D-9301-BAE88745E9E7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CFDDF7FF-9D57-495D-AAA7-5D145719D08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D1AB6D94-915F-4A8E-B769-1A82F0912CA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1" name="Obdélník 30">
                <a:extLst>
                  <a:ext uri="{FF2B5EF4-FFF2-40B4-BE49-F238E27FC236}">
                    <a16:creationId xmlns:a16="http://schemas.microsoft.com/office/drawing/2014/main" id="{0F786CEC-1CB2-4D50-B522-8DDA8B57D4B4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2" name="TextovéPole 28">
                <a:extLst>
                  <a:ext uri="{FF2B5EF4-FFF2-40B4-BE49-F238E27FC236}">
                    <a16:creationId xmlns:a16="http://schemas.microsoft.com/office/drawing/2014/main" id="{CC1C3A49-94B2-4DE7-82F7-017C26528780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</a:t>
                </a:r>
                <a:r>
                  <a:rPr kumimoji="0" lang="cs-CZ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izikový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998D75B6-557A-4E6D-A59F-DC589BC3DC92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7259860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KKIP03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3" id="{3B2E77E7-3A16-4B32-A7F5-08967F30F02F}" vid="{206E0270-D0A4-4D15-ABB7-D7AD000546A2}"/>
    </a:ext>
  </a:extLst>
</a:theme>
</file>

<file path=ppt/theme/theme2.xml><?xml version="1.0" encoding="utf-8"?>
<a:theme xmlns:a="http://schemas.openxmlformats.org/drawingml/2006/main" name="8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40</TotalTime>
  <Words>3535</Words>
  <Application>Microsoft Office PowerPoint</Application>
  <PresentationFormat>Širokoúhlá obrazovka</PresentationFormat>
  <Paragraphs>858</Paragraphs>
  <Slides>32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KKIP03</vt:lpstr>
      <vt:lpstr>8_Motiv Office</vt:lpstr>
      <vt:lpstr>Epidemie COVID-19 v ČR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Epidemie COVID-19 v ČR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Dušek Ladislav prof. RNDr. Ph.D.</cp:lastModifiedBy>
  <cp:revision>389</cp:revision>
  <dcterms:created xsi:type="dcterms:W3CDTF">2021-03-07T17:05:03Z</dcterms:created>
  <dcterms:modified xsi:type="dcterms:W3CDTF">2021-11-17T20:25:21Z</dcterms:modified>
</cp:coreProperties>
</file>